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6" r:id="rId2"/>
  </p:sldMasterIdLst>
  <p:notesMasterIdLst>
    <p:notesMasterId r:id="rId27"/>
  </p:notesMasterIdLst>
  <p:sldIdLst>
    <p:sldId id="455" r:id="rId3"/>
    <p:sldId id="680" r:id="rId4"/>
    <p:sldId id="690" r:id="rId5"/>
    <p:sldId id="616" r:id="rId6"/>
    <p:sldId id="668" r:id="rId7"/>
    <p:sldId id="678" r:id="rId8"/>
    <p:sldId id="679" r:id="rId9"/>
    <p:sldId id="669" r:id="rId10"/>
    <p:sldId id="670" r:id="rId11"/>
    <p:sldId id="689" r:id="rId12"/>
    <p:sldId id="673" r:id="rId13"/>
    <p:sldId id="676" r:id="rId14"/>
    <p:sldId id="683" r:id="rId15"/>
    <p:sldId id="684" r:id="rId16"/>
    <p:sldId id="685" r:id="rId17"/>
    <p:sldId id="686" r:id="rId18"/>
    <p:sldId id="687" r:id="rId19"/>
    <p:sldId id="688" r:id="rId20"/>
    <p:sldId id="664" r:id="rId21"/>
    <p:sldId id="681" r:id="rId22"/>
    <p:sldId id="677" r:id="rId23"/>
    <p:sldId id="667" r:id="rId24"/>
    <p:sldId id="524" r:id="rId25"/>
    <p:sldId id="615" r:id="rId26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na" initials="M" lastIdx="9" clrIdx="0"/>
  <p:cmAuthor id="2" name="Leilas" initials="L" lastIdx="11" clrIdx="1"/>
  <p:cmAuthor id="3" name="Admin" initials="AAA" lastIdx="2" clrIdx="2"/>
  <p:cmAuthor id="4" name="Шинко Елена Юрьевна" initials="ШЕЮ" lastIdx="37" clrIdx="3"/>
  <p:cmAuthor id="5" name="Яковлев Е.С." initials="ЯЕС" lastIdx="19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2B8D"/>
    <a:srgbClr val="0073B8"/>
    <a:srgbClr val="F0F8FA"/>
    <a:srgbClr val="9ED442"/>
    <a:srgbClr val="40A7E1"/>
    <a:srgbClr val="F5B144"/>
    <a:srgbClr val="F6DB7E"/>
    <a:srgbClr val="E9950D"/>
    <a:srgbClr val="4383DD"/>
    <a:srgbClr val="79BF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132" autoAdjust="0"/>
    <p:restoredTop sz="95126" autoAdjust="0"/>
  </p:normalViewPr>
  <p:slideViewPr>
    <p:cSldViewPr snapToGrid="0">
      <p:cViewPr varScale="1">
        <p:scale>
          <a:sx n="86" d="100"/>
          <a:sy n="86" d="100"/>
        </p:scale>
        <p:origin x="461" y="67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95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22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BF8789-1979-4371-9085-ABA0C510A7FF}" type="datetimeFigureOut">
              <a:rPr lang="ru-RU" smtClean="0"/>
              <a:pPr/>
              <a:t>28.08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BC4957-3E6D-44F6-80D1-E054D6E6E008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3781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pPr/>
              <a:t>28.08.20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08095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  <p:sp>
        <p:nvSpPr>
          <p:cNvPr id="1843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D9BAF239-5BDD-471A-AD80-F3EAD619EA3A}" type="slidenum">
              <a:rPr lang="ru-RU" altLang="ru-RU" smtClean="0"/>
              <a:pPr/>
              <a:t>2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00600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00600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и этом следует отметить, что ОО может принять решение о расширении структуры рабочих программ, разработать такую структуру как единую, рекомендовать ее для всех учителей-предметников и зафиксировать в локальном нормативном акте организации «Положение о рабочей программе учителя»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EEBA32-1118-4F02-B6C1-D16580288AB0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88071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00600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34F1D5-33B3-480A-A4E8-311841A67364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08.202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8248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8.08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5021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8.08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846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8.08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6884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9651811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Линия"/>
          <p:cNvSpPr/>
          <p:nvPr/>
        </p:nvSpPr>
        <p:spPr>
          <a:xfrm>
            <a:off x="5924339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1" name="Линия"/>
          <p:cNvSpPr/>
          <p:nvPr/>
        </p:nvSpPr>
        <p:spPr>
          <a:xfrm flipH="1">
            <a:off x="6055025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2" name="Линия"/>
          <p:cNvSpPr/>
          <p:nvPr/>
        </p:nvSpPr>
        <p:spPr>
          <a:xfrm flipH="1">
            <a:off x="6010376" y="880580"/>
            <a:ext cx="212637" cy="52771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3" name="Линия"/>
          <p:cNvSpPr/>
          <p:nvPr/>
        </p:nvSpPr>
        <p:spPr>
          <a:xfrm>
            <a:off x="5776306" y="1279922"/>
            <a:ext cx="639390" cy="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4" name="Прямоугольник"/>
          <p:cNvSpPr/>
          <p:nvPr/>
        </p:nvSpPr>
        <p:spPr>
          <a:xfrm>
            <a:off x="-1390" y="-5954"/>
            <a:ext cx="12194779" cy="317470"/>
          </a:xfrm>
          <a:prstGeom prst="rect">
            <a:avLst/>
          </a:prstGeom>
          <a:solidFill>
            <a:srgbClr val="294891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3200">
                <a:solidFill>
                  <a:srgbClr val="294891"/>
                </a:solidFill>
              </a:defRPr>
            </a:pPr>
            <a:endParaRPr sz="1600"/>
          </a:p>
        </p:txBody>
      </p:sp>
      <p:sp>
        <p:nvSpPr>
          <p:cNvPr id="25" name="Прямоугольник"/>
          <p:cNvSpPr/>
          <p:nvPr/>
        </p:nvSpPr>
        <p:spPr>
          <a:xfrm>
            <a:off x="-1389" y="6546820"/>
            <a:ext cx="12194779" cy="317470"/>
          </a:xfrm>
          <a:prstGeom prst="rect">
            <a:avLst/>
          </a:prstGeom>
          <a:solidFill>
            <a:srgbClr val="294891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 sz="1600"/>
          </a:p>
        </p:txBody>
      </p:sp>
      <p:pic>
        <p:nvPicPr>
          <p:cNvPr id="26" name="pasted-image.tiff" descr="pasted-image.tiff"/>
          <p:cNvPicPr>
            <a:picLocks noChangeAspect="1"/>
          </p:cNvPicPr>
          <p:nvPr/>
        </p:nvPicPr>
        <p:blipFill>
          <a:blip r:embed="rId2" cstate="print"/>
          <a:srcRect l="39743" r="39743" b="36077"/>
          <a:stretch>
            <a:fillRect/>
          </a:stretch>
        </p:blipFill>
        <p:spPr>
          <a:xfrm>
            <a:off x="11386743" y="476085"/>
            <a:ext cx="523745" cy="547763"/>
          </a:xfrm>
          <a:prstGeom prst="rect">
            <a:avLst/>
          </a:prstGeom>
          <a:ln w="12700">
            <a:miter lim="400000"/>
          </a:ln>
        </p:spPr>
      </p:pic>
      <p:sp>
        <p:nvSpPr>
          <p:cNvPr id="2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967907" y="6500813"/>
            <a:ext cx="247257" cy="255588"/>
          </a:xfrm>
          <a:prstGeom prst="rect">
            <a:avLst/>
          </a:prstGeom>
        </p:spPr>
        <p:txBody>
          <a:bodyPr lIns="71437" tIns="71437" rIns="71437" bIns="71437" anchor="t"/>
          <a:lstStyle>
            <a:lvl1pPr algn="ctr" defTabSz="410766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01431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8.08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69448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8.08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1385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8.08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12541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8.08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64103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8.08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2456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8.08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30823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8.08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63320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8.08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88918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8.08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57683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8.08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41310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8.08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06171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8.08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65773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4837021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8/28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8.08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2137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8.08.2023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62915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8.08.2023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35031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8.08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6459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8.08.2023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2299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8.08.2023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7844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28.08.2023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0457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8523F2-53FE-42F4-86B8-4598D2998874}" type="datetimeFigureOut">
              <a:rPr lang="ru-RU" smtClean="0"/>
              <a:pPr/>
              <a:t>28.08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50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8523F2-53FE-42F4-86B8-4598D2998874}" type="datetimeFigureOut">
              <a:rPr lang="ru-RU" smtClean="0"/>
              <a:pPr/>
              <a:t>28.08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697463-1C33-49B9-B1AC-991EFB90EE5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1" y="0"/>
            <a:ext cx="1757966" cy="64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853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21.jpeg"/><Relationship Id="rId7" Type="http://schemas.openxmlformats.org/officeDocument/2006/relationships/image" Target="../media/image25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10" Type="http://schemas.openxmlformats.org/officeDocument/2006/relationships/image" Target="../media/image28.jpeg"/><Relationship Id="rId4" Type="http://schemas.openxmlformats.org/officeDocument/2006/relationships/image" Target="../media/image22.jpeg"/><Relationship Id="rId9" Type="http://schemas.openxmlformats.org/officeDocument/2006/relationships/image" Target="../media/image27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jpe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0" Type="http://schemas.openxmlformats.org/officeDocument/2006/relationships/image" Target="../media/image42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3.jpeg"/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12" Type="http://schemas.openxmlformats.org/officeDocument/2006/relationships/image" Target="../media/image62.jpe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56.png"/><Relationship Id="rId11" Type="http://schemas.openxmlformats.org/officeDocument/2006/relationships/image" Target="../media/image61.png"/><Relationship Id="rId5" Type="http://schemas.openxmlformats.org/officeDocument/2006/relationships/image" Target="../media/image55.png"/><Relationship Id="rId10" Type="http://schemas.openxmlformats.org/officeDocument/2006/relationships/image" Target="../media/image60.png"/><Relationship Id="rId4" Type="http://schemas.openxmlformats.org/officeDocument/2006/relationships/image" Target="../media/image54.png"/><Relationship Id="rId9" Type="http://schemas.openxmlformats.org/officeDocument/2006/relationships/image" Target="../media/image59.png"/><Relationship Id="rId14" Type="http://schemas.openxmlformats.org/officeDocument/2006/relationships/image" Target="../media/image6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8.jpeg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7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emf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2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uchitel.club/" TargetMode="External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mailto:vopros@prosv.ru" TargetMode="External"/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12" Type="http://schemas.openxmlformats.org/officeDocument/2006/relationships/image" Target="../media/image78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77.png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76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75.gi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ru.wikipedia.org/wiki/%D0%9B%D0%BE%D0%B3%D0%BE%D1%81" TargetMode="External"/><Relationship Id="rId2" Type="http://schemas.openxmlformats.org/officeDocument/2006/relationships/hyperlink" Target="https://ru.wikipedia.org/wiki/%D0%94%D1%80%D0%B5%D0%B2%D0%BD%D0%B5%D0%B3%D1%80%D0%B5%D1%87%D0%B5%D1%81%D0%BA%D0%B8%D0%B9_%D1%8F%D0%B7%D1%8B%D0%BA" TargetMode="Externa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onsultant.ru/document/cons_doc_LAW_382584/00afa12c7f36511b0208cec0c9ecf1a9a7ef1add/#dst100051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4ege.ru/documents/62425-novye-fgos-2021-goda.html" TargetMode="External"/><Relationship Id="rId5" Type="http://schemas.openxmlformats.org/officeDocument/2006/relationships/hyperlink" Target="http://www.consultant.ru/document/cons_doc_LAW_372540/c2b2d8185c0a6e95fd5e5cbd2eec34b4445cf314/#dst100010" TargetMode="External"/><Relationship Id="rId4" Type="http://schemas.openxmlformats.org/officeDocument/2006/relationships/hyperlink" Target="http://www.consultant.ru/document/cons_doc_LAW_322606/9be1f7d873cfcc0bcfa992f4e6005351c9041090/#dst100072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4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Прямоугольник 95"/>
          <p:cNvSpPr/>
          <p:nvPr/>
        </p:nvSpPr>
        <p:spPr>
          <a:xfrm>
            <a:off x="177715" y="4075675"/>
            <a:ext cx="11819633" cy="21122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2400" b="1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669879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0528363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" name="Rectangle 16"/>
          <p:cNvSpPr>
            <a:spLocks noChangeArrowheads="1"/>
          </p:cNvSpPr>
          <p:nvPr/>
        </p:nvSpPr>
        <p:spPr bwMode="auto">
          <a:xfrm>
            <a:off x="7573455" y="203633"/>
            <a:ext cx="2954908" cy="1233124"/>
          </a:xfrm>
          <a:prstGeom prst="rect">
            <a:avLst/>
          </a:prstGeom>
          <a:solidFill>
            <a:srgbClr val="2D2B8D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186183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3141091" y="2669879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5" name="Rectangle 23"/>
          <p:cNvSpPr>
            <a:spLocks noChangeArrowheads="1"/>
          </p:cNvSpPr>
          <p:nvPr/>
        </p:nvSpPr>
        <p:spPr bwMode="auto">
          <a:xfrm>
            <a:off x="1663636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6"/>
          <p:cNvSpPr>
            <a:spLocks noChangeArrowheads="1"/>
          </p:cNvSpPr>
          <p:nvPr/>
        </p:nvSpPr>
        <p:spPr bwMode="auto">
          <a:xfrm>
            <a:off x="4618544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7"/>
          <p:cNvSpPr>
            <a:spLocks noChangeArrowheads="1"/>
          </p:cNvSpPr>
          <p:nvPr/>
        </p:nvSpPr>
        <p:spPr bwMode="auto">
          <a:xfrm>
            <a:off x="6096002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0" name="Rectangle 28"/>
          <p:cNvSpPr>
            <a:spLocks noChangeArrowheads="1"/>
          </p:cNvSpPr>
          <p:nvPr/>
        </p:nvSpPr>
        <p:spPr bwMode="auto">
          <a:xfrm>
            <a:off x="9050908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Freeform 30"/>
          <p:cNvSpPr>
            <a:spLocks noEditPoints="1"/>
          </p:cNvSpPr>
          <p:nvPr/>
        </p:nvSpPr>
        <p:spPr bwMode="auto">
          <a:xfrm>
            <a:off x="10963791" y="3056737"/>
            <a:ext cx="606596" cy="489249"/>
          </a:xfrm>
          <a:custGeom>
            <a:avLst/>
            <a:gdLst>
              <a:gd name="T0" fmla="*/ 442 w 884"/>
              <a:gd name="T1" fmla="*/ 286 h 711"/>
              <a:gd name="T2" fmla="*/ 334 w 884"/>
              <a:gd name="T3" fmla="*/ 179 h 711"/>
              <a:gd name="T4" fmla="*/ 442 w 884"/>
              <a:gd name="T5" fmla="*/ 71 h 711"/>
              <a:gd name="T6" fmla="*/ 549 w 884"/>
              <a:gd name="T7" fmla="*/ 179 h 711"/>
              <a:gd name="T8" fmla="*/ 442 w 884"/>
              <a:gd name="T9" fmla="*/ 286 h 711"/>
              <a:gd name="T10" fmla="*/ 442 w 884"/>
              <a:gd name="T11" fmla="*/ 0 h 711"/>
              <a:gd name="T12" fmla="*/ 263 w 884"/>
              <a:gd name="T13" fmla="*/ 179 h 711"/>
              <a:gd name="T14" fmla="*/ 442 w 884"/>
              <a:gd name="T15" fmla="*/ 358 h 711"/>
              <a:gd name="T16" fmla="*/ 514 w 884"/>
              <a:gd name="T17" fmla="*/ 343 h 711"/>
              <a:gd name="T18" fmla="*/ 514 w 884"/>
              <a:gd name="T19" fmla="*/ 577 h 711"/>
              <a:gd name="T20" fmla="*/ 442 w 884"/>
              <a:gd name="T21" fmla="*/ 529 h 711"/>
              <a:gd name="T22" fmla="*/ 370 w 884"/>
              <a:gd name="T23" fmla="*/ 577 h 711"/>
              <a:gd name="T24" fmla="*/ 370 w 884"/>
              <a:gd name="T25" fmla="*/ 391 h 711"/>
              <a:gd name="T26" fmla="*/ 299 w 884"/>
              <a:gd name="T27" fmla="*/ 391 h 711"/>
              <a:gd name="T28" fmla="*/ 299 w 884"/>
              <a:gd name="T29" fmla="*/ 711 h 711"/>
              <a:gd name="T30" fmla="*/ 442 w 884"/>
              <a:gd name="T31" fmla="*/ 616 h 711"/>
              <a:gd name="T32" fmla="*/ 585 w 884"/>
              <a:gd name="T33" fmla="*/ 711 h 711"/>
              <a:gd name="T34" fmla="*/ 585 w 884"/>
              <a:gd name="T35" fmla="*/ 285 h 711"/>
              <a:gd name="T36" fmla="*/ 621 w 884"/>
              <a:gd name="T37" fmla="*/ 179 h 711"/>
              <a:gd name="T38" fmla="*/ 442 w 884"/>
              <a:gd name="T39" fmla="*/ 0 h 711"/>
              <a:gd name="T40" fmla="*/ 836 w 884"/>
              <a:gd name="T41" fmla="*/ 36 h 711"/>
              <a:gd name="T42" fmla="*/ 662 w 884"/>
              <a:gd name="T43" fmla="*/ 60 h 711"/>
              <a:gd name="T44" fmla="*/ 687 w 884"/>
              <a:gd name="T45" fmla="*/ 130 h 711"/>
              <a:gd name="T46" fmla="*/ 789 w 884"/>
              <a:gd name="T47" fmla="*/ 116 h 711"/>
              <a:gd name="T48" fmla="*/ 789 w 884"/>
              <a:gd name="T49" fmla="*/ 277 h 711"/>
              <a:gd name="T50" fmla="*/ 678 w 884"/>
              <a:gd name="T51" fmla="*/ 262 h 711"/>
              <a:gd name="T52" fmla="*/ 641 w 884"/>
              <a:gd name="T53" fmla="*/ 330 h 711"/>
              <a:gd name="T54" fmla="*/ 836 w 884"/>
              <a:gd name="T55" fmla="*/ 358 h 711"/>
              <a:gd name="T56" fmla="*/ 836 w 884"/>
              <a:gd name="T57" fmla="*/ 36 h 711"/>
              <a:gd name="T58" fmla="*/ 95 w 884"/>
              <a:gd name="T59" fmla="*/ 277 h 711"/>
              <a:gd name="T60" fmla="*/ 95 w 884"/>
              <a:gd name="T61" fmla="*/ 116 h 711"/>
              <a:gd name="T62" fmla="*/ 196 w 884"/>
              <a:gd name="T63" fmla="*/ 130 h 711"/>
              <a:gd name="T64" fmla="*/ 221 w 884"/>
              <a:gd name="T65" fmla="*/ 60 h 711"/>
              <a:gd name="T66" fmla="*/ 48 w 884"/>
              <a:gd name="T67" fmla="*/ 35 h 711"/>
              <a:gd name="T68" fmla="*/ 48 w 884"/>
              <a:gd name="T69" fmla="*/ 358 h 711"/>
              <a:gd name="T70" fmla="*/ 243 w 884"/>
              <a:gd name="T71" fmla="*/ 331 h 711"/>
              <a:gd name="T72" fmla="*/ 206 w 884"/>
              <a:gd name="T73" fmla="*/ 263 h 711"/>
              <a:gd name="T74" fmla="*/ 95 w 884"/>
              <a:gd name="T75" fmla="*/ 277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884" h="711">
                <a:moveTo>
                  <a:pt x="442" y="286"/>
                </a:moveTo>
                <a:cubicBezTo>
                  <a:pt x="382" y="286"/>
                  <a:pt x="334" y="238"/>
                  <a:pt x="334" y="179"/>
                </a:cubicBezTo>
                <a:cubicBezTo>
                  <a:pt x="334" y="120"/>
                  <a:pt x="382" y="71"/>
                  <a:pt x="442" y="71"/>
                </a:cubicBezTo>
                <a:cubicBezTo>
                  <a:pt x="501" y="71"/>
                  <a:pt x="549" y="120"/>
                  <a:pt x="549" y="179"/>
                </a:cubicBezTo>
                <a:cubicBezTo>
                  <a:pt x="549" y="238"/>
                  <a:pt x="501" y="286"/>
                  <a:pt x="442" y="286"/>
                </a:cubicBezTo>
                <a:close/>
                <a:moveTo>
                  <a:pt x="442" y="0"/>
                </a:moveTo>
                <a:cubicBezTo>
                  <a:pt x="343" y="0"/>
                  <a:pt x="263" y="80"/>
                  <a:pt x="263" y="179"/>
                </a:cubicBezTo>
                <a:cubicBezTo>
                  <a:pt x="263" y="277"/>
                  <a:pt x="343" y="358"/>
                  <a:pt x="442" y="358"/>
                </a:cubicBezTo>
                <a:cubicBezTo>
                  <a:pt x="467" y="358"/>
                  <a:pt x="478" y="352"/>
                  <a:pt x="514" y="343"/>
                </a:cubicBezTo>
                <a:lnTo>
                  <a:pt x="514" y="577"/>
                </a:lnTo>
                <a:lnTo>
                  <a:pt x="442" y="529"/>
                </a:lnTo>
                <a:lnTo>
                  <a:pt x="370" y="577"/>
                </a:lnTo>
                <a:lnTo>
                  <a:pt x="370" y="391"/>
                </a:lnTo>
                <a:lnTo>
                  <a:pt x="299" y="391"/>
                </a:lnTo>
                <a:lnTo>
                  <a:pt x="299" y="711"/>
                </a:lnTo>
                <a:lnTo>
                  <a:pt x="442" y="616"/>
                </a:lnTo>
                <a:lnTo>
                  <a:pt x="585" y="711"/>
                </a:lnTo>
                <a:lnTo>
                  <a:pt x="585" y="285"/>
                </a:lnTo>
                <a:cubicBezTo>
                  <a:pt x="621" y="255"/>
                  <a:pt x="621" y="219"/>
                  <a:pt x="621" y="179"/>
                </a:cubicBezTo>
                <a:cubicBezTo>
                  <a:pt x="621" y="80"/>
                  <a:pt x="540" y="0"/>
                  <a:pt x="442" y="0"/>
                </a:cubicBezTo>
                <a:close/>
                <a:moveTo>
                  <a:pt x="836" y="36"/>
                </a:moveTo>
                <a:cubicBezTo>
                  <a:pt x="778" y="46"/>
                  <a:pt x="720" y="54"/>
                  <a:pt x="662" y="60"/>
                </a:cubicBezTo>
                <a:cubicBezTo>
                  <a:pt x="674" y="82"/>
                  <a:pt x="683" y="105"/>
                  <a:pt x="687" y="130"/>
                </a:cubicBezTo>
                <a:cubicBezTo>
                  <a:pt x="721" y="126"/>
                  <a:pt x="756" y="121"/>
                  <a:pt x="789" y="116"/>
                </a:cubicBezTo>
                <a:cubicBezTo>
                  <a:pt x="804" y="169"/>
                  <a:pt x="804" y="224"/>
                  <a:pt x="789" y="277"/>
                </a:cubicBezTo>
                <a:cubicBezTo>
                  <a:pt x="752" y="271"/>
                  <a:pt x="715" y="266"/>
                  <a:pt x="678" y="262"/>
                </a:cubicBezTo>
                <a:cubicBezTo>
                  <a:pt x="669" y="287"/>
                  <a:pt x="656" y="310"/>
                  <a:pt x="641" y="330"/>
                </a:cubicBezTo>
                <a:cubicBezTo>
                  <a:pt x="706" y="336"/>
                  <a:pt x="771" y="346"/>
                  <a:pt x="836" y="358"/>
                </a:cubicBezTo>
                <a:cubicBezTo>
                  <a:pt x="883" y="258"/>
                  <a:pt x="884" y="138"/>
                  <a:pt x="836" y="36"/>
                </a:cubicBezTo>
                <a:close/>
                <a:moveTo>
                  <a:pt x="95" y="277"/>
                </a:moveTo>
                <a:cubicBezTo>
                  <a:pt x="81" y="225"/>
                  <a:pt x="81" y="170"/>
                  <a:pt x="95" y="116"/>
                </a:cubicBezTo>
                <a:cubicBezTo>
                  <a:pt x="129" y="122"/>
                  <a:pt x="162" y="126"/>
                  <a:pt x="196" y="130"/>
                </a:cubicBezTo>
                <a:cubicBezTo>
                  <a:pt x="201" y="105"/>
                  <a:pt x="209" y="82"/>
                  <a:pt x="221" y="60"/>
                </a:cubicBezTo>
                <a:cubicBezTo>
                  <a:pt x="163" y="54"/>
                  <a:pt x="105" y="46"/>
                  <a:pt x="48" y="35"/>
                </a:cubicBezTo>
                <a:cubicBezTo>
                  <a:pt x="3" y="140"/>
                  <a:pt x="0" y="255"/>
                  <a:pt x="48" y="358"/>
                </a:cubicBezTo>
                <a:cubicBezTo>
                  <a:pt x="112" y="346"/>
                  <a:pt x="178" y="337"/>
                  <a:pt x="243" y="331"/>
                </a:cubicBezTo>
                <a:cubicBezTo>
                  <a:pt x="227" y="310"/>
                  <a:pt x="215" y="287"/>
                  <a:pt x="206" y="263"/>
                </a:cubicBezTo>
                <a:cubicBezTo>
                  <a:pt x="169" y="267"/>
                  <a:pt x="132" y="271"/>
                  <a:pt x="95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3" name="Freeform 31"/>
          <p:cNvSpPr>
            <a:spLocks noEditPoints="1"/>
          </p:cNvSpPr>
          <p:nvPr/>
        </p:nvSpPr>
        <p:spPr bwMode="auto">
          <a:xfrm>
            <a:off x="5062984" y="3029721"/>
            <a:ext cx="591581" cy="567288"/>
          </a:xfrm>
          <a:custGeom>
            <a:avLst/>
            <a:gdLst>
              <a:gd name="T0" fmla="*/ 466 w 860"/>
              <a:gd name="T1" fmla="*/ 465 h 823"/>
              <a:gd name="T2" fmla="*/ 394 w 860"/>
              <a:gd name="T3" fmla="*/ 393 h 823"/>
              <a:gd name="T4" fmla="*/ 537 w 860"/>
              <a:gd name="T5" fmla="*/ 716 h 823"/>
              <a:gd name="T6" fmla="*/ 609 w 860"/>
              <a:gd name="T7" fmla="*/ 644 h 823"/>
              <a:gd name="T8" fmla="*/ 537 w 860"/>
              <a:gd name="T9" fmla="*/ 716 h 823"/>
              <a:gd name="T10" fmla="*/ 609 w 860"/>
              <a:gd name="T11" fmla="*/ 608 h 823"/>
              <a:gd name="T12" fmla="*/ 537 w 860"/>
              <a:gd name="T13" fmla="*/ 537 h 823"/>
              <a:gd name="T14" fmla="*/ 716 w 860"/>
              <a:gd name="T15" fmla="*/ 644 h 823"/>
              <a:gd name="T16" fmla="*/ 645 w 860"/>
              <a:gd name="T17" fmla="*/ 716 h 823"/>
              <a:gd name="T18" fmla="*/ 716 w 860"/>
              <a:gd name="T19" fmla="*/ 644 h 823"/>
              <a:gd name="T20" fmla="*/ 645 w 860"/>
              <a:gd name="T21" fmla="*/ 537 h 823"/>
              <a:gd name="T22" fmla="*/ 716 w 860"/>
              <a:gd name="T23" fmla="*/ 608 h 823"/>
              <a:gd name="T24" fmla="*/ 251 w 860"/>
              <a:gd name="T25" fmla="*/ 716 h 823"/>
              <a:gd name="T26" fmla="*/ 322 w 860"/>
              <a:gd name="T27" fmla="*/ 644 h 823"/>
              <a:gd name="T28" fmla="*/ 251 w 860"/>
              <a:gd name="T29" fmla="*/ 716 h 823"/>
              <a:gd name="T30" fmla="*/ 322 w 860"/>
              <a:gd name="T31" fmla="*/ 608 h 823"/>
              <a:gd name="T32" fmla="*/ 251 w 860"/>
              <a:gd name="T33" fmla="*/ 537 h 823"/>
              <a:gd name="T34" fmla="*/ 143 w 860"/>
              <a:gd name="T35" fmla="*/ 716 h 823"/>
              <a:gd name="T36" fmla="*/ 215 w 860"/>
              <a:gd name="T37" fmla="*/ 644 h 823"/>
              <a:gd name="T38" fmla="*/ 143 w 860"/>
              <a:gd name="T39" fmla="*/ 716 h 823"/>
              <a:gd name="T40" fmla="*/ 215 w 860"/>
              <a:gd name="T41" fmla="*/ 608 h 823"/>
              <a:gd name="T42" fmla="*/ 143 w 860"/>
              <a:gd name="T43" fmla="*/ 537 h 823"/>
              <a:gd name="T44" fmla="*/ 788 w 860"/>
              <a:gd name="T45" fmla="*/ 752 h 823"/>
              <a:gd name="T46" fmla="*/ 466 w 860"/>
              <a:gd name="T47" fmla="*/ 537 h 823"/>
              <a:gd name="T48" fmla="*/ 394 w 860"/>
              <a:gd name="T49" fmla="*/ 752 h 823"/>
              <a:gd name="T50" fmla="*/ 72 w 860"/>
              <a:gd name="T51" fmla="*/ 501 h 823"/>
              <a:gd name="T52" fmla="*/ 430 w 860"/>
              <a:gd name="T53" fmla="*/ 269 h 823"/>
              <a:gd name="T54" fmla="*/ 788 w 860"/>
              <a:gd name="T55" fmla="*/ 501 h 823"/>
              <a:gd name="T56" fmla="*/ 100 w 860"/>
              <a:gd name="T57" fmla="*/ 358 h 823"/>
              <a:gd name="T58" fmla="*/ 199 w 860"/>
              <a:gd name="T59" fmla="*/ 429 h 823"/>
              <a:gd name="T60" fmla="*/ 100 w 860"/>
              <a:gd name="T61" fmla="*/ 358 h 823"/>
              <a:gd name="T62" fmla="*/ 778 w 860"/>
              <a:gd name="T63" fmla="*/ 429 h 823"/>
              <a:gd name="T64" fmla="*/ 600 w 860"/>
              <a:gd name="T65" fmla="*/ 358 h 823"/>
              <a:gd name="T66" fmla="*/ 816 w 860"/>
              <a:gd name="T67" fmla="*/ 286 h 823"/>
              <a:gd name="T68" fmla="*/ 466 w 860"/>
              <a:gd name="T69" fmla="*/ 183 h 823"/>
              <a:gd name="T70" fmla="*/ 483 w 860"/>
              <a:gd name="T71" fmla="*/ 73 h 823"/>
              <a:gd name="T72" fmla="*/ 645 w 860"/>
              <a:gd name="T73" fmla="*/ 53 h 823"/>
              <a:gd name="T74" fmla="*/ 430 w 860"/>
              <a:gd name="T75" fmla="*/ 0 h 823"/>
              <a:gd name="T76" fmla="*/ 394 w 860"/>
              <a:gd name="T77" fmla="*/ 183 h 823"/>
              <a:gd name="T78" fmla="*/ 44 w 860"/>
              <a:gd name="T79" fmla="*/ 286 h 823"/>
              <a:gd name="T80" fmla="*/ 0 w 860"/>
              <a:gd name="T81" fmla="*/ 823 h 823"/>
              <a:gd name="T82" fmla="*/ 860 w 860"/>
              <a:gd name="T83" fmla="*/ 448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60" h="823">
                <a:moveTo>
                  <a:pt x="394" y="465"/>
                </a:moveTo>
                <a:lnTo>
                  <a:pt x="466" y="465"/>
                </a:lnTo>
                <a:lnTo>
                  <a:pt x="466" y="393"/>
                </a:lnTo>
                <a:lnTo>
                  <a:pt x="394" y="393"/>
                </a:lnTo>
                <a:lnTo>
                  <a:pt x="394" y="465"/>
                </a:lnTo>
                <a:close/>
                <a:moveTo>
                  <a:pt x="537" y="716"/>
                </a:moveTo>
                <a:lnTo>
                  <a:pt x="609" y="716"/>
                </a:lnTo>
                <a:lnTo>
                  <a:pt x="609" y="644"/>
                </a:lnTo>
                <a:lnTo>
                  <a:pt x="537" y="644"/>
                </a:lnTo>
                <a:lnTo>
                  <a:pt x="537" y="716"/>
                </a:lnTo>
                <a:close/>
                <a:moveTo>
                  <a:pt x="537" y="608"/>
                </a:moveTo>
                <a:lnTo>
                  <a:pt x="609" y="608"/>
                </a:lnTo>
                <a:lnTo>
                  <a:pt x="609" y="537"/>
                </a:lnTo>
                <a:lnTo>
                  <a:pt x="537" y="537"/>
                </a:lnTo>
                <a:lnTo>
                  <a:pt x="537" y="608"/>
                </a:lnTo>
                <a:close/>
                <a:moveTo>
                  <a:pt x="716" y="644"/>
                </a:moveTo>
                <a:lnTo>
                  <a:pt x="645" y="644"/>
                </a:lnTo>
                <a:lnTo>
                  <a:pt x="645" y="716"/>
                </a:lnTo>
                <a:lnTo>
                  <a:pt x="716" y="716"/>
                </a:lnTo>
                <a:lnTo>
                  <a:pt x="716" y="644"/>
                </a:lnTo>
                <a:close/>
                <a:moveTo>
                  <a:pt x="716" y="537"/>
                </a:moveTo>
                <a:lnTo>
                  <a:pt x="645" y="537"/>
                </a:lnTo>
                <a:lnTo>
                  <a:pt x="645" y="608"/>
                </a:lnTo>
                <a:lnTo>
                  <a:pt x="716" y="608"/>
                </a:lnTo>
                <a:lnTo>
                  <a:pt x="716" y="537"/>
                </a:lnTo>
                <a:close/>
                <a:moveTo>
                  <a:pt x="251" y="716"/>
                </a:moveTo>
                <a:lnTo>
                  <a:pt x="322" y="716"/>
                </a:lnTo>
                <a:lnTo>
                  <a:pt x="322" y="644"/>
                </a:lnTo>
                <a:lnTo>
                  <a:pt x="251" y="644"/>
                </a:lnTo>
                <a:lnTo>
                  <a:pt x="251" y="716"/>
                </a:lnTo>
                <a:close/>
                <a:moveTo>
                  <a:pt x="251" y="608"/>
                </a:moveTo>
                <a:lnTo>
                  <a:pt x="322" y="608"/>
                </a:lnTo>
                <a:lnTo>
                  <a:pt x="322" y="537"/>
                </a:lnTo>
                <a:lnTo>
                  <a:pt x="251" y="537"/>
                </a:lnTo>
                <a:lnTo>
                  <a:pt x="251" y="608"/>
                </a:lnTo>
                <a:close/>
                <a:moveTo>
                  <a:pt x="143" y="716"/>
                </a:moveTo>
                <a:lnTo>
                  <a:pt x="215" y="716"/>
                </a:lnTo>
                <a:lnTo>
                  <a:pt x="215" y="644"/>
                </a:lnTo>
                <a:lnTo>
                  <a:pt x="143" y="644"/>
                </a:lnTo>
                <a:lnTo>
                  <a:pt x="143" y="716"/>
                </a:lnTo>
                <a:close/>
                <a:moveTo>
                  <a:pt x="143" y="608"/>
                </a:moveTo>
                <a:lnTo>
                  <a:pt x="215" y="608"/>
                </a:lnTo>
                <a:lnTo>
                  <a:pt x="215" y="537"/>
                </a:lnTo>
                <a:lnTo>
                  <a:pt x="143" y="537"/>
                </a:lnTo>
                <a:lnTo>
                  <a:pt x="143" y="608"/>
                </a:lnTo>
                <a:close/>
                <a:moveTo>
                  <a:pt x="788" y="752"/>
                </a:moveTo>
                <a:lnTo>
                  <a:pt x="466" y="752"/>
                </a:lnTo>
                <a:lnTo>
                  <a:pt x="466" y="537"/>
                </a:lnTo>
                <a:lnTo>
                  <a:pt x="394" y="537"/>
                </a:lnTo>
                <a:lnTo>
                  <a:pt x="394" y="752"/>
                </a:lnTo>
                <a:lnTo>
                  <a:pt x="72" y="752"/>
                </a:lnTo>
                <a:lnTo>
                  <a:pt x="72" y="501"/>
                </a:lnTo>
                <a:lnTo>
                  <a:pt x="232" y="501"/>
                </a:lnTo>
                <a:lnTo>
                  <a:pt x="430" y="269"/>
                </a:lnTo>
                <a:lnTo>
                  <a:pt x="628" y="501"/>
                </a:lnTo>
                <a:lnTo>
                  <a:pt x="788" y="501"/>
                </a:lnTo>
                <a:lnTo>
                  <a:pt x="788" y="752"/>
                </a:lnTo>
                <a:close/>
                <a:moveTo>
                  <a:pt x="100" y="358"/>
                </a:moveTo>
                <a:lnTo>
                  <a:pt x="260" y="358"/>
                </a:lnTo>
                <a:lnTo>
                  <a:pt x="199" y="429"/>
                </a:lnTo>
                <a:lnTo>
                  <a:pt x="82" y="429"/>
                </a:lnTo>
                <a:lnTo>
                  <a:pt x="100" y="358"/>
                </a:lnTo>
                <a:close/>
                <a:moveTo>
                  <a:pt x="760" y="358"/>
                </a:moveTo>
                <a:lnTo>
                  <a:pt x="778" y="429"/>
                </a:lnTo>
                <a:lnTo>
                  <a:pt x="661" y="429"/>
                </a:lnTo>
                <a:lnTo>
                  <a:pt x="600" y="358"/>
                </a:lnTo>
                <a:lnTo>
                  <a:pt x="760" y="358"/>
                </a:lnTo>
                <a:close/>
                <a:moveTo>
                  <a:pt x="816" y="286"/>
                </a:moveTo>
                <a:lnTo>
                  <a:pt x="539" y="286"/>
                </a:lnTo>
                <a:lnTo>
                  <a:pt x="466" y="183"/>
                </a:lnTo>
                <a:lnTo>
                  <a:pt x="466" y="59"/>
                </a:lnTo>
                <a:cubicBezTo>
                  <a:pt x="466" y="62"/>
                  <a:pt x="477" y="67"/>
                  <a:pt x="483" y="73"/>
                </a:cubicBezTo>
                <a:cubicBezTo>
                  <a:pt x="512" y="101"/>
                  <a:pt x="537" y="125"/>
                  <a:pt x="645" y="125"/>
                </a:cubicBezTo>
                <a:lnTo>
                  <a:pt x="645" y="53"/>
                </a:lnTo>
                <a:cubicBezTo>
                  <a:pt x="573" y="53"/>
                  <a:pt x="550" y="47"/>
                  <a:pt x="533" y="31"/>
                </a:cubicBezTo>
                <a:cubicBezTo>
                  <a:pt x="511" y="9"/>
                  <a:pt x="488" y="0"/>
                  <a:pt x="430" y="0"/>
                </a:cubicBezTo>
                <a:lnTo>
                  <a:pt x="394" y="0"/>
                </a:lnTo>
                <a:lnTo>
                  <a:pt x="394" y="183"/>
                </a:lnTo>
                <a:lnTo>
                  <a:pt x="322" y="286"/>
                </a:lnTo>
                <a:lnTo>
                  <a:pt x="44" y="286"/>
                </a:lnTo>
                <a:lnTo>
                  <a:pt x="1" y="458"/>
                </a:lnTo>
                <a:lnTo>
                  <a:pt x="0" y="823"/>
                </a:lnTo>
                <a:lnTo>
                  <a:pt x="860" y="823"/>
                </a:lnTo>
                <a:lnTo>
                  <a:pt x="860" y="448"/>
                </a:lnTo>
                <a:lnTo>
                  <a:pt x="816" y="28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3077747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6" name="Freeform 54"/>
          <p:cNvSpPr>
            <a:spLocks noEditPoints="1"/>
          </p:cNvSpPr>
          <p:nvPr/>
        </p:nvSpPr>
        <p:spPr bwMode="auto">
          <a:xfrm>
            <a:off x="2108074" y="3005710"/>
            <a:ext cx="588580" cy="591300"/>
          </a:xfrm>
          <a:custGeom>
            <a:avLst/>
            <a:gdLst>
              <a:gd name="T0" fmla="*/ 358 w 860"/>
              <a:gd name="T1" fmla="*/ 322 h 859"/>
              <a:gd name="T2" fmla="*/ 358 w 860"/>
              <a:gd name="T3" fmla="*/ 250 h 859"/>
              <a:gd name="T4" fmla="*/ 287 w 860"/>
              <a:gd name="T5" fmla="*/ 250 h 859"/>
              <a:gd name="T6" fmla="*/ 287 w 860"/>
              <a:gd name="T7" fmla="*/ 322 h 859"/>
              <a:gd name="T8" fmla="*/ 358 w 860"/>
              <a:gd name="T9" fmla="*/ 322 h 859"/>
              <a:gd name="T10" fmla="*/ 215 w 860"/>
              <a:gd name="T11" fmla="*/ 394 h 859"/>
              <a:gd name="T12" fmla="*/ 144 w 860"/>
              <a:gd name="T13" fmla="*/ 394 h 859"/>
              <a:gd name="T14" fmla="*/ 144 w 860"/>
              <a:gd name="T15" fmla="*/ 465 h 859"/>
              <a:gd name="T16" fmla="*/ 215 w 860"/>
              <a:gd name="T17" fmla="*/ 465 h 859"/>
              <a:gd name="T18" fmla="*/ 215 w 860"/>
              <a:gd name="T19" fmla="*/ 394 h 859"/>
              <a:gd name="T20" fmla="*/ 251 w 860"/>
              <a:gd name="T21" fmla="*/ 143 h 859"/>
              <a:gd name="T22" fmla="*/ 394 w 860"/>
              <a:gd name="T23" fmla="*/ 143 h 859"/>
              <a:gd name="T24" fmla="*/ 394 w 860"/>
              <a:gd name="T25" fmla="*/ 71 h 859"/>
              <a:gd name="T26" fmla="*/ 251 w 860"/>
              <a:gd name="T27" fmla="*/ 71 h 859"/>
              <a:gd name="T28" fmla="*/ 251 w 860"/>
              <a:gd name="T29" fmla="*/ 0 h 859"/>
              <a:gd name="T30" fmla="*/ 179 w 860"/>
              <a:gd name="T31" fmla="*/ 0 h 859"/>
              <a:gd name="T32" fmla="*/ 179 w 860"/>
              <a:gd name="T33" fmla="*/ 179 h 859"/>
              <a:gd name="T34" fmla="*/ 251 w 860"/>
              <a:gd name="T35" fmla="*/ 179 h 859"/>
              <a:gd name="T36" fmla="*/ 251 w 860"/>
              <a:gd name="T37" fmla="*/ 143 h 859"/>
              <a:gd name="T38" fmla="*/ 215 w 860"/>
              <a:gd name="T39" fmla="*/ 250 h 859"/>
              <a:gd name="T40" fmla="*/ 144 w 860"/>
              <a:gd name="T41" fmla="*/ 250 h 859"/>
              <a:gd name="T42" fmla="*/ 144 w 860"/>
              <a:gd name="T43" fmla="*/ 322 h 859"/>
              <a:gd name="T44" fmla="*/ 215 w 860"/>
              <a:gd name="T45" fmla="*/ 322 h 859"/>
              <a:gd name="T46" fmla="*/ 215 w 860"/>
              <a:gd name="T47" fmla="*/ 250 h 859"/>
              <a:gd name="T48" fmla="*/ 609 w 860"/>
              <a:gd name="T49" fmla="*/ 429 h 859"/>
              <a:gd name="T50" fmla="*/ 537 w 860"/>
              <a:gd name="T51" fmla="*/ 429 h 859"/>
              <a:gd name="T52" fmla="*/ 537 w 860"/>
              <a:gd name="T53" fmla="*/ 588 h 859"/>
              <a:gd name="T54" fmla="*/ 620 w 860"/>
              <a:gd name="T55" fmla="*/ 670 h 859"/>
              <a:gd name="T56" fmla="*/ 670 w 860"/>
              <a:gd name="T57" fmla="*/ 619 h 859"/>
              <a:gd name="T58" fmla="*/ 609 w 860"/>
              <a:gd name="T59" fmla="*/ 558 h 859"/>
              <a:gd name="T60" fmla="*/ 609 w 860"/>
              <a:gd name="T61" fmla="*/ 429 h 859"/>
              <a:gd name="T62" fmla="*/ 573 w 860"/>
              <a:gd name="T63" fmla="*/ 788 h 859"/>
              <a:gd name="T64" fmla="*/ 358 w 860"/>
              <a:gd name="T65" fmla="*/ 573 h 859"/>
              <a:gd name="T66" fmla="*/ 573 w 860"/>
              <a:gd name="T67" fmla="*/ 358 h 859"/>
              <a:gd name="T68" fmla="*/ 788 w 860"/>
              <a:gd name="T69" fmla="*/ 573 h 859"/>
              <a:gd name="T70" fmla="*/ 573 w 860"/>
              <a:gd name="T71" fmla="*/ 788 h 859"/>
              <a:gd name="T72" fmla="*/ 712 w 860"/>
              <a:gd name="T73" fmla="*/ 322 h 859"/>
              <a:gd name="T74" fmla="*/ 716 w 860"/>
              <a:gd name="T75" fmla="*/ 322 h 859"/>
              <a:gd name="T76" fmla="*/ 716 w 860"/>
              <a:gd name="T77" fmla="*/ 71 h 859"/>
              <a:gd name="T78" fmla="*/ 537 w 860"/>
              <a:gd name="T79" fmla="*/ 71 h 859"/>
              <a:gd name="T80" fmla="*/ 537 w 860"/>
              <a:gd name="T81" fmla="*/ 0 h 859"/>
              <a:gd name="T82" fmla="*/ 466 w 860"/>
              <a:gd name="T83" fmla="*/ 0 h 859"/>
              <a:gd name="T84" fmla="*/ 466 w 860"/>
              <a:gd name="T85" fmla="*/ 179 h 859"/>
              <a:gd name="T86" fmla="*/ 537 w 860"/>
              <a:gd name="T87" fmla="*/ 179 h 859"/>
              <a:gd name="T88" fmla="*/ 537 w 860"/>
              <a:gd name="T89" fmla="*/ 143 h 859"/>
              <a:gd name="T90" fmla="*/ 645 w 860"/>
              <a:gd name="T91" fmla="*/ 143 h 859"/>
              <a:gd name="T92" fmla="*/ 645 w 860"/>
              <a:gd name="T93" fmla="*/ 296 h 859"/>
              <a:gd name="T94" fmla="*/ 573 w 860"/>
              <a:gd name="T95" fmla="*/ 286 h 859"/>
              <a:gd name="T96" fmla="*/ 289 w 860"/>
              <a:gd name="T97" fmla="*/ 537 h 859"/>
              <a:gd name="T98" fmla="*/ 72 w 860"/>
              <a:gd name="T99" fmla="*/ 537 h 859"/>
              <a:gd name="T100" fmla="*/ 72 w 860"/>
              <a:gd name="T101" fmla="*/ 143 h 859"/>
              <a:gd name="T102" fmla="*/ 108 w 860"/>
              <a:gd name="T103" fmla="*/ 143 h 859"/>
              <a:gd name="T104" fmla="*/ 108 w 860"/>
              <a:gd name="T105" fmla="*/ 71 h 859"/>
              <a:gd name="T106" fmla="*/ 0 w 860"/>
              <a:gd name="T107" fmla="*/ 71 h 859"/>
              <a:gd name="T108" fmla="*/ 0 w 860"/>
              <a:gd name="T109" fmla="*/ 609 h 859"/>
              <a:gd name="T110" fmla="*/ 289 w 860"/>
              <a:gd name="T111" fmla="*/ 609 h 859"/>
              <a:gd name="T112" fmla="*/ 573 w 860"/>
              <a:gd name="T113" fmla="*/ 859 h 859"/>
              <a:gd name="T114" fmla="*/ 860 w 860"/>
              <a:gd name="T115" fmla="*/ 573 h 859"/>
              <a:gd name="T116" fmla="*/ 712 w 860"/>
              <a:gd name="T117" fmla="*/ 322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60" h="859">
                <a:moveTo>
                  <a:pt x="358" y="322"/>
                </a:moveTo>
                <a:lnTo>
                  <a:pt x="358" y="250"/>
                </a:lnTo>
                <a:lnTo>
                  <a:pt x="287" y="250"/>
                </a:lnTo>
                <a:lnTo>
                  <a:pt x="287" y="322"/>
                </a:lnTo>
                <a:lnTo>
                  <a:pt x="358" y="322"/>
                </a:lnTo>
                <a:close/>
                <a:moveTo>
                  <a:pt x="215" y="394"/>
                </a:moveTo>
                <a:lnTo>
                  <a:pt x="144" y="394"/>
                </a:lnTo>
                <a:lnTo>
                  <a:pt x="144" y="465"/>
                </a:lnTo>
                <a:lnTo>
                  <a:pt x="215" y="465"/>
                </a:lnTo>
                <a:lnTo>
                  <a:pt x="215" y="394"/>
                </a:lnTo>
                <a:close/>
                <a:moveTo>
                  <a:pt x="251" y="143"/>
                </a:moveTo>
                <a:lnTo>
                  <a:pt x="394" y="143"/>
                </a:lnTo>
                <a:lnTo>
                  <a:pt x="394" y="71"/>
                </a:lnTo>
                <a:lnTo>
                  <a:pt x="251" y="71"/>
                </a:lnTo>
                <a:lnTo>
                  <a:pt x="251" y="0"/>
                </a:lnTo>
                <a:lnTo>
                  <a:pt x="179" y="0"/>
                </a:lnTo>
                <a:lnTo>
                  <a:pt x="179" y="179"/>
                </a:lnTo>
                <a:lnTo>
                  <a:pt x="251" y="179"/>
                </a:lnTo>
                <a:lnTo>
                  <a:pt x="251" y="143"/>
                </a:lnTo>
                <a:close/>
                <a:moveTo>
                  <a:pt x="215" y="250"/>
                </a:moveTo>
                <a:lnTo>
                  <a:pt x="144" y="250"/>
                </a:lnTo>
                <a:lnTo>
                  <a:pt x="144" y="322"/>
                </a:lnTo>
                <a:lnTo>
                  <a:pt x="215" y="322"/>
                </a:lnTo>
                <a:lnTo>
                  <a:pt x="215" y="250"/>
                </a:lnTo>
                <a:close/>
                <a:moveTo>
                  <a:pt x="609" y="429"/>
                </a:moveTo>
                <a:lnTo>
                  <a:pt x="537" y="429"/>
                </a:lnTo>
                <a:lnTo>
                  <a:pt x="537" y="588"/>
                </a:lnTo>
                <a:lnTo>
                  <a:pt x="620" y="670"/>
                </a:lnTo>
                <a:lnTo>
                  <a:pt x="670" y="619"/>
                </a:lnTo>
                <a:lnTo>
                  <a:pt x="609" y="558"/>
                </a:lnTo>
                <a:lnTo>
                  <a:pt x="609" y="429"/>
                </a:lnTo>
                <a:close/>
                <a:moveTo>
                  <a:pt x="573" y="788"/>
                </a:moveTo>
                <a:cubicBezTo>
                  <a:pt x="455" y="788"/>
                  <a:pt x="358" y="691"/>
                  <a:pt x="358" y="573"/>
                </a:cubicBezTo>
                <a:cubicBezTo>
                  <a:pt x="358" y="454"/>
                  <a:pt x="455" y="358"/>
                  <a:pt x="573" y="358"/>
                </a:cubicBezTo>
                <a:cubicBezTo>
                  <a:pt x="692" y="358"/>
                  <a:pt x="788" y="454"/>
                  <a:pt x="788" y="573"/>
                </a:cubicBezTo>
                <a:cubicBezTo>
                  <a:pt x="788" y="691"/>
                  <a:pt x="692" y="788"/>
                  <a:pt x="573" y="788"/>
                </a:cubicBezTo>
                <a:close/>
                <a:moveTo>
                  <a:pt x="712" y="322"/>
                </a:moveTo>
                <a:lnTo>
                  <a:pt x="716" y="322"/>
                </a:lnTo>
                <a:lnTo>
                  <a:pt x="716" y="71"/>
                </a:lnTo>
                <a:lnTo>
                  <a:pt x="537" y="71"/>
                </a:lnTo>
                <a:lnTo>
                  <a:pt x="537" y="0"/>
                </a:lnTo>
                <a:lnTo>
                  <a:pt x="466" y="0"/>
                </a:lnTo>
                <a:lnTo>
                  <a:pt x="466" y="179"/>
                </a:lnTo>
                <a:lnTo>
                  <a:pt x="537" y="179"/>
                </a:lnTo>
                <a:lnTo>
                  <a:pt x="537" y="143"/>
                </a:lnTo>
                <a:lnTo>
                  <a:pt x="645" y="143"/>
                </a:lnTo>
                <a:lnTo>
                  <a:pt x="645" y="296"/>
                </a:lnTo>
                <a:cubicBezTo>
                  <a:pt x="609" y="290"/>
                  <a:pt x="598" y="286"/>
                  <a:pt x="573" y="286"/>
                </a:cubicBezTo>
                <a:cubicBezTo>
                  <a:pt x="427" y="286"/>
                  <a:pt x="307" y="394"/>
                  <a:pt x="289" y="537"/>
                </a:cubicBezTo>
                <a:lnTo>
                  <a:pt x="72" y="537"/>
                </a:lnTo>
                <a:lnTo>
                  <a:pt x="72" y="143"/>
                </a:lnTo>
                <a:lnTo>
                  <a:pt x="108" y="143"/>
                </a:lnTo>
                <a:lnTo>
                  <a:pt x="108" y="71"/>
                </a:lnTo>
                <a:lnTo>
                  <a:pt x="0" y="71"/>
                </a:lnTo>
                <a:lnTo>
                  <a:pt x="0" y="609"/>
                </a:lnTo>
                <a:lnTo>
                  <a:pt x="289" y="609"/>
                </a:lnTo>
                <a:cubicBezTo>
                  <a:pt x="307" y="752"/>
                  <a:pt x="427" y="859"/>
                  <a:pt x="573" y="859"/>
                </a:cubicBezTo>
                <a:cubicBezTo>
                  <a:pt x="731" y="859"/>
                  <a:pt x="860" y="731"/>
                  <a:pt x="860" y="573"/>
                </a:cubicBezTo>
                <a:cubicBezTo>
                  <a:pt x="860" y="465"/>
                  <a:pt x="800" y="358"/>
                  <a:pt x="712" y="3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5" name="Группа 94"/>
          <p:cNvGrpSpPr/>
          <p:nvPr/>
        </p:nvGrpSpPr>
        <p:grpSpPr>
          <a:xfrm>
            <a:off x="8041917" y="469017"/>
            <a:ext cx="2017985" cy="702356"/>
            <a:chOff x="6031437" y="443121"/>
            <a:chExt cx="1513489" cy="526767"/>
          </a:xfrm>
        </p:grpSpPr>
        <p:sp>
          <p:nvSpPr>
            <p:cNvPr id="78" name="Freeform 56"/>
            <p:cNvSpPr>
              <a:spLocks/>
            </p:cNvSpPr>
            <p:nvPr/>
          </p:nvSpPr>
          <p:spPr bwMode="auto">
            <a:xfrm>
              <a:off x="6038192" y="692998"/>
              <a:ext cx="576569" cy="31516"/>
            </a:xfrm>
            <a:custGeom>
              <a:avLst/>
              <a:gdLst>
                <a:gd name="T0" fmla="*/ 1111 w 1116"/>
                <a:gd name="T1" fmla="*/ 0 h 60"/>
                <a:gd name="T2" fmla="*/ 0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1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9" name="Freeform 57"/>
            <p:cNvSpPr>
              <a:spLocks/>
            </p:cNvSpPr>
            <p:nvPr/>
          </p:nvSpPr>
          <p:spPr bwMode="auto">
            <a:xfrm>
              <a:off x="6963853" y="692998"/>
              <a:ext cx="574315" cy="31516"/>
            </a:xfrm>
            <a:custGeom>
              <a:avLst/>
              <a:gdLst>
                <a:gd name="T0" fmla="*/ 1116 w 1116"/>
                <a:gd name="T1" fmla="*/ 0 h 60"/>
                <a:gd name="T2" fmla="*/ 5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6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6" y="0"/>
                  </a:moveTo>
                  <a:lnTo>
                    <a:pt x="5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0" name="Freeform 58"/>
            <p:cNvSpPr>
              <a:spLocks/>
            </p:cNvSpPr>
            <p:nvPr/>
          </p:nvSpPr>
          <p:spPr bwMode="auto">
            <a:xfrm>
              <a:off x="6031437" y="812309"/>
              <a:ext cx="132880" cy="123812"/>
            </a:xfrm>
            <a:custGeom>
              <a:avLst/>
              <a:gdLst>
                <a:gd name="T0" fmla="*/ 0 w 258"/>
                <a:gd name="T1" fmla="*/ 10 h 239"/>
                <a:gd name="T2" fmla="*/ 33 w 258"/>
                <a:gd name="T3" fmla="*/ 19 h 239"/>
                <a:gd name="T4" fmla="*/ 33 w 258"/>
                <a:gd name="T5" fmla="*/ 216 h 239"/>
                <a:gd name="T6" fmla="*/ 0 w 258"/>
                <a:gd name="T7" fmla="*/ 225 h 239"/>
                <a:gd name="T8" fmla="*/ 0 w 258"/>
                <a:gd name="T9" fmla="*/ 239 h 239"/>
                <a:gd name="T10" fmla="*/ 112 w 258"/>
                <a:gd name="T11" fmla="*/ 239 h 239"/>
                <a:gd name="T12" fmla="*/ 112 w 258"/>
                <a:gd name="T13" fmla="*/ 225 h 239"/>
                <a:gd name="T14" fmla="*/ 80 w 258"/>
                <a:gd name="T15" fmla="*/ 216 h 239"/>
                <a:gd name="T16" fmla="*/ 80 w 258"/>
                <a:gd name="T17" fmla="*/ 24 h 239"/>
                <a:gd name="T18" fmla="*/ 173 w 258"/>
                <a:gd name="T19" fmla="*/ 24 h 239"/>
                <a:gd name="T20" fmla="*/ 173 w 258"/>
                <a:gd name="T21" fmla="*/ 216 h 239"/>
                <a:gd name="T22" fmla="*/ 145 w 258"/>
                <a:gd name="T23" fmla="*/ 225 h 239"/>
                <a:gd name="T24" fmla="*/ 145 w 258"/>
                <a:gd name="T25" fmla="*/ 239 h 239"/>
                <a:gd name="T26" fmla="*/ 258 w 258"/>
                <a:gd name="T27" fmla="*/ 239 h 239"/>
                <a:gd name="T28" fmla="*/ 258 w 258"/>
                <a:gd name="T29" fmla="*/ 225 h 239"/>
                <a:gd name="T30" fmla="*/ 225 w 258"/>
                <a:gd name="T31" fmla="*/ 216 h 239"/>
                <a:gd name="T32" fmla="*/ 225 w 258"/>
                <a:gd name="T33" fmla="*/ 19 h 239"/>
                <a:gd name="T34" fmla="*/ 258 w 258"/>
                <a:gd name="T35" fmla="*/ 10 h 239"/>
                <a:gd name="T36" fmla="*/ 258 w 258"/>
                <a:gd name="T37" fmla="*/ 0 h 239"/>
                <a:gd name="T38" fmla="*/ 0 w 258"/>
                <a:gd name="T39" fmla="*/ 0 h 239"/>
                <a:gd name="T40" fmla="*/ 0 w 258"/>
                <a:gd name="T41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39">
                  <a:moveTo>
                    <a:pt x="0" y="10"/>
                  </a:move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80" y="216"/>
                  </a:lnTo>
                  <a:lnTo>
                    <a:pt x="80" y="24"/>
                  </a:lnTo>
                  <a:lnTo>
                    <a:pt x="173" y="24"/>
                  </a:lnTo>
                  <a:lnTo>
                    <a:pt x="173" y="216"/>
                  </a:lnTo>
                  <a:lnTo>
                    <a:pt x="145" y="225"/>
                  </a:lnTo>
                  <a:lnTo>
                    <a:pt x="145" y="239"/>
                  </a:lnTo>
                  <a:lnTo>
                    <a:pt x="258" y="239"/>
                  </a:lnTo>
                  <a:lnTo>
                    <a:pt x="258" y="225"/>
                  </a:lnTo>
                  <a:lnTo>
                    <a:pt x="225" y="216"/>
                  </a:lnTo>
                  <a:lnTo>
                    <a:pt x="225" y="19"/>
                  </a:lnTo>
                  <a:lnTo>
                    <a:pt x="258" y="10"/>
                  </a:lnTo>
                  <a:lnTo>
                    <a:pt x="258" y="0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1" name="Freeform 59"/>
            <p:cNvSpPr>
              <a:spLocks noEditPoints="1"/>
            </p:cNvSpPr>
            <p:nvPr/>
          </p:nvSpPr>
          <p:spPr bwMode="auto">
            <a:xfrm>
              <a:off x="6189091" y="812309"/>
              <a:ext cx="90089" cy="123812"/>
            </a:xfrm>
            <a:custGeom>
              <a:avLst/>
              <a:gdLst>
                <a:gd name="T0" fmla="*/ 108 w 173"/>
                <a:gd name="T1" fmla="*/ 0 h 239"/>
                <a:gd name="T2" fmla="*/ 98 w 173"/>
                <a:gd name="T3" fmla="*/ 0 h 239"/>
                <a:gd name="T4" fmla="*/ 0 w 173"/>
                <a:gd name="T5" fmla="*/ 0 h 239"/>
                <a:gd name="T6" fmla="*/ 0 w 173"/>
                <a:gd name="T7" fmla="*/ 10 h 239"/>
                <a:gd name="T8" fmla="*/ 28 w 173"/>
                <a:gd name="T9" fmla="*/ 19 h 239"/>
                <a:gd name="T10" fmla="*/ 28 w 173"/>
                <a:gd name="T11" fmla="*/ 216 h 239"/>
                <a:gd name="T12" fmla="*/ 0 w 173"/>
                <a:gd name="T13" fmla="*/ 225 h 239"/>
                <a:gd name="T14" fmla="*/ 0 w 173"/>
                <a:gd name="T15" fmla="*/ 239 h 239"/>
                <a:gd name="T16" fmla="*/ 98 w 173"/>
                <a:gd name="T17" fmla="*/ 239 h 239"/>
                <a:gd name="T18" fmla="*/ 112 w 173"/>
                <a:gd name="T19" fmla="*/ 239 h 239"/>
                <a:gd name="T20" fmla="*/ 112 w 173"/>
                <a:gd name="T21" fmla="*/ 225 h 239"/>
                <a:gd name="T22" fmla="*/ 98 w 173"/>
                <a:gd name="T23" fmla="*/ 221 h 239"/>
                <a:gd name="T24" fmla="*/ 70 w 173"/>
                <a:gd name="T25" fmla="*/ 216 h 239"/>
                <a:gd name="T26" fmla="*/ 70 w 173"/>
                <a:gd name="T27" fmla="*/ 136 h 239"/>
                <a:gd name="T28" fmla="*/ 89 w 173"/>
                <a:gd name="T29" fmla="*/ 136 h 239"/>
                <a:gd name="T30" fmla="*/ 98 w 173"/>
                <a:gd name="T31" fmla="*/ 136 h 239"/>
                <a:gd name="T32" fmla="*/ 131 w 173"/>
                <a:gd name="T33" fmla="*/ 132 h 239"/>
                <a:gd name="T34" fmla="*/ 154 w 173"/>
                <a:gd name="T35" fmla="*/ 117 h 239"/>
                <a:gd name="T36" fmla="*/ 169 w 173"/>
                <a:gd name="T37" fmla="*/ 94 h 239"/>
                <a:gd name="T38" fmla="*/ 173 w 173"/>
                <a:gd name="T39" fmla="*/ 61 h 239"/>
                <a:gd name="T40" fmla="*/ 164 w 173"/>
                <a:gd name="T41" fmla="*/ 33 h 239"/>
                <a:gd name="T42" fmla="*/ 154 w 173"/>
                <a:gd name="T43" fmla="*/ 14 h 239"/>
                <a:gd name="T44" fmla="*/ 131 w 173"/>
                <a:gd name="T45" fmla="*/ 0 h 239"/>
                <a:gd name="T46" fmla="*/ 108 w 173"/>
                <a:gd name="T47" fmla="*/ 0 h 239"/>
                <a:gd name="T48" fmla="*/ 98 w 173"/>
                <a:gd name="T49" fmla="*/ 122 h 239"/>
                <a:gd name="T50" fmla="*/ 98 w 173"/>
                <a:gd name="T51" fmla="*/ 122 h 239"/>
                <a:gd name="T52" fmla="*/ 84 w 173"/>
                <a:gd name="T53" fmla="*/ 122 h 239"/>
                <a:gd name="T54" fmla="*/ 70 w 173"/>
                <a:gd name="T55" fmla="*/ 122 h 239"/>
                <a:gd name="T56" fmla="*/ 70 w 173"/>
                <a:gd name="T57" fmla="*/ 14 h 239"/>
                <a:gd name="T58" fmla="*/ 84 w 173"/>
                <a:gd name="T59" fmla="*/ 14 h 239"/>
                <a:gd name="T60" fmla="*/ 89 w 173"/>
                <a:gd name="T61" fmla="*/ 14 h 239"/>
                <a:gd name="T62" fmla="*/ 98 w 173"/>
                <a:gd name="T63" fmla="*/ 19 h 239"/>
                <a:gd name="T64" fmla="*/ 108 w 173"/>
                <a:gd name="T65" fmla="*/ 24 h 239"/>
                <a:gd name="T66" fmla="*/ 117 w 173"/>
                <a:gd name="T67" fmla="*/ 33 h 239"/>
                <a:gd name="T68" fmla="*/ 122 w 173"/>
                <a:gd name="T69" fmla="*/ 47 h 239"/>
                <a:gd name="T70" fmla="*/ 126 w 173"/>
                <a:gd name="T71" fmla="*/ 71 h 239"/>
                <a:gd name="T72" fmla="*/ 122 w 173"/>
                <a:gd name="T73" fmla="*/ 103 h 239"/>
                <a:gd name="T74" fmla="*/ 112 w 173"/>
                <a:gd name="T75" fmla="*/ 113 h 239"/>
                <a:gd name="T76" fmla="*/ 98 w 173"/>
                <a:gd name="T77" fmla="*/ 12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3" h="239">
                  <a:moveTo>
                    <a:pt x="108" y="0"/>
                  </a:moveTo>
                  <a:lnTo>
                    <a:pt x="98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98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98" y="221"/>
                  </a:lnTo>
                  <a:lnTo>
                    <a:pt x="70" y="216"/>
                  </a:lnTo>
                  <a:lnTo>
                    <a:pt x="70" y="136"/>
                  </a:lnTo>
                  <a:lnTo>
                    <a:pt x="89" y="136"/>
                  </a:lnTo>
                  <a:lnTo>
                    <a:pt x="98" y="136"/>
                  </a:lnTo>
                  <a:lnTo>
                    <a:pt x="131" y="132"/>
                  </a:lnTo>
                  <a:lnTo>
                    <a:pt x="154" y="117"/>
                  </a:lnTo>
                  <a:lnTo>
                    <a:pt x="169" y="94"/>
                  </a:lnTo>
                  <a:lnTo>
                    <a:pt x="173" y="61"/>
                  </a:lnTo>
                  <a:lnTo>
                    <a:pt x="164" y="33"/>
                  </a:lnTo>
                  <a:lnTo>
                    <a:pt x="154" y="14"/>
                  </a:lnTo>
                  <a:lnTo>
                    <a:pt x="131" y="0"/>
                  </a:lnTo>
                  <a:lnTo>
                    <a:pt x="108" y="0"/>
                  </a:lnTo>
                  <a:close/>
                  <a:moveTo>
                    <a:pt x="98" y="122"/>
                  </a:moveTo>
                  <a:lnTo>
                    <a:pt x="98" y="122"/>
                  </a:lnTo>
                  <a:lnTo>
                    <a:pt x="84" y="122"/>
                  </a:lnTo>
                  <a:lnTo>
                    <a:pt x="70" y="122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89" y="14"/>
                  </a:lnTo>
                  <a:lnTo>
                    <a:pt x="98" y="19"/>
                  </a:lnTo>
                  <a:lnTo>
                    <a:pt x="108" y="24"/>
                  </a:lnTo>
                  <a:lnTo>
                    <a:pt x="117" y="33"/>
                  </a:lnTo>
                  <a:lnTo>
                    <a:pt x="122" y="47"/>
                  </a:lnTo>
                  <a:lnTo>
                    <a:pt x="126" y="71"/>
                  </a:lnTo>
                  <a:lnTo>
                    <a:pt x="122" y="103"/>
                  </a:lnTo>
                  <a:lnTo>
                    <a:pt x="112" y="113"/>
                  </a:lnTo>
                  <a:lnTo>
                    <a:pt x="98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2" name="Freeform 60"/>
            <p:cNvSpPr>
              <a:spLocks noEditPoints="1"/>
            </p:cNvSpPr>
            <p:nvPr/>
          </p:nvSpPr>
          <p:spPr bwMode="auto">
            <a:xfrm>
              <a:off x="6301702" y="810057"/>
              <a:ext cx="121619" cy="126063"/>
            </a:xfrm>
            <a:custGeom>
              <a:avLst/>
              <a:gdLst>
                <a:gd name="T0" fmla="*/ 117 w 235"/>
                <a:gd name="T1" fmla="*/ 0 h 243"/>
                <a:gd name="T2" fmla="*/ 113 w 235"/>
                <a:gd name="T3" fmla="*/ 0 h 243"/>
                <a:gd name="T4" fmla="*/ 66 w 235"/>
                <a:gd name="T5" fmla="*/ 4 h 243"/>
                <a:gd name="T6" fmla="*/ 28 w 235"/>
                <a:gd name="T7" fmla="*/ 28 h 243"/>
                <a:gd name="T8" fmla="*/ 5 w 235"/>
                <a:gd name="T9" fmla="*/ 65 h 243"/>
                <a:gd name="T10" fmla="*/ 0 w 235"/>
                <a:gd name="T11" fmla="*/ 117 h 243"/>
                <a:gd name="T12" fmla="*/ 5 w 235"/>
                <a:gd name="T13" fmla="*/ 173 h 243"/>
                <a:gd name="T14" fmla="*/ 28 w 235"/>
                <a:gd name="T15" fmla="*/ 211 h 243"/>
                <a:gd name="T16" fmla="*/ 66 w 235"/>
                <a:gd name="T17" fmla="*/ 234 h 243"/>
                <a:gd name="T18" fmla="*/ 113 w 235"/>
                <a:gd name="T19" fmla="*/ 243 h 243"/>
                <a:gd name="T20" fmla="*/ 117 w 235"/>
                <a:gd name="T21" fmla="*/ 243 h 243"/>
                <a:gd name="T22" fmla="*/ 164 w 235"/>
                <a:gd name="T23" fmla="*/ 234 h 243"/>
                <a:gd name="T24" fmla="*/ 202 w 235"/>
                <a:gd name="T25" fmla="*/ 211 h 243"/>
                <a:gd name="T26" fmla="*/ 225 w 235"/>
                <a:gd name="T27" fmla="*/ 173 h 243"/>
                <a:gd name="T28" fmla="*/ 235 w 235"/>
                <a:gd name="T29" fmla="*/ 117 h 243"/>
                <a:gd name="T30" fmla="*/ 225 w 235"/>
                <a:gd name="T31" fmla="*/ 65 h 243"/>
                <a:gd name="T32" fmla="*/ 202 w 235"/>
                <a:gd name="T33" fmla="*/ 28 h 243"/>
                <a:gd name="T34" fmla="*/ 164 w 235"/>
                <a:gd name="T35" fmla="*/ 4 h 243"/>
                <a:gd name="T36" fmla="*/ 117 w 235"/>
                <a:gd name="T37" fmla="*/ 0 h 243"/>
                <a:gd name="T38" fmla="*/ 117 w 235"/>
                <a:gd name="T39" fmla="*/ 229 h 243"/>
                <a:gd name="T40" fmla="*/ 117 w 235"/>
                <a:gd name="T41" fmla="*/ 229 h 243"/>
                <a:gd name="T42" fmla="*/ 113 w 235"/>
                <a:gd name="T43" fmla="*/ 229 h 243"/>
                <a:gd name="T44" fmla="*/ 89 w 235"/>
                <a:gd name="T45" fmla="*/ 220 h 243"/>
                <a:gd name="T46" fmla="*/ 70 w 235"/>
                <a:gd name="T47" fmla="*/ 201 h 243"/>
                <a:gd name="T48" fmla="*/ 56 w 235"/>
                <a:gd name="T49" fmla="*/ 164 h 243"/>
                <a:gd name="T50" fmla="*/ 52 w 235"/>
                <a:gd name="T51" fmla="*/ 140 h 243"/>
                <a:gd name="T52" fmla="*/ 52 w 235"/>
                <a:gd name="T53" fmla="*/ 112 h 243"/>
                <a:gd name="T54" fmla="*/ 56 w 235"/>
                <a:gd name="T55" fmla="*/ 65 h 243"/>
                <a:gd name="T56" fmla="*/ 70 w 235"/>
                <a:gd name="T57" fmla="*/ 37 h 243"/>
                <a:gd name="T58" fmla="*/ 89 w 235"/>
                <a:gd name="T59" fmla="*/ 18 h 243"/>
                <a:gd name="T60" fmla="*/ 113 w 235"/>
                <a:gd name="T61" fmla="*/ 9 h 243"/>
                <a:gd name="T62" fmla="*/ 141 w 235"/>
                <a:gd name="T63" fmla="*/ 18 h 243"/>
                <a:gd name="T64" fmla="*/ 160 w 235"/>
                <a:gd name="T65" fmla="*/ 42 h 243"/>
                <a:gd name="T66" fmla="*/ 174 w 235"/>
                <a:gd name="T67" fmla="*/ 75 h 243"/>
                <a:gd name="T68" fmla="*/ 178 w 235"/>
                <a:gd name="T69" fmla="*/ 126 h 243"/>
                <a:gd name="T70" fmla="*/ 174 w 235"/>
                <a:gd name="T71" fmla="*/ 164 h 243"/>
                <a:gd name="T72" fmla="*/ 164 w 235"/>
                <a:gd name="T73" fmla="*/ 197 h 243"/>
                <a:gd name="T74" fmla="*/ 145 w 235"/>
                <a:gd name="T75" fmla="*/ 220 h 243"/>
                <a:gd name="T76" fmla="*/ 131 w 235"/>
                <a:gd name="T77" fmla="*/ 225 h 243"/>
                <a:gd name="T78" fmla="*/ 117 w 235"/>
                <a:gd name="T79" fmla="*/ 22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5" h="243">
                  <a:moveTo>
                    <a:pt x="117" y="0"/>
                  </a:moveTo>
                  <a:lnTo>
                    <a:pt x="113" y="0"/>
                  </a:lnTo>
                  <a:lnTo>
                    <a:pt x="66" y="4"/>
                  </a:lnTo>
                  <a:lnTo>
                    <a:pt x="28" y="28"/>
                  </a:lnTo>
                  <a:lnTo>
                    <a:pt x="5" y="65"/>
                  </a:lnTo>
                  <a:lnTo>
                    <a:pt x="0" y="117"/>
                  </a:lnTo>
                  <a:lnTo>
                    <a:pt x="5" y="173"/>
                  </a:lnTo>
                  <a:lnTo>
                    <a:pt x="28" y="211"/>
                  </a:lnTo>
                  <a:lnTo>
                    <a:pt x="66" y="234"/>
                  </a:lnTo>
                  <a:lnTo>
                    <a:pt x="113" y="243"/>
                  </a:lnTo>
                  <a:lnTo>
                    <a:pt x="117" y="243"/>
                  </a:lnTo>
                  <a:lnTo>
                    <a:pt x="164" y="234"/>
                  </a:lnTo>
                  <a:lnTo>
                    <a:pt x="202" y="211"/>
                  </a:lnTo>
                  <a:lnTo>
                    <a:pt x="225" y="173"/>
                  </a:lnTo>
                  <a:lnTo>
                    <a:pt x="235" y="117"/>
                  </a:lnTo>
                  <a:lnTo>
                    <a:pt x="225" y="65"/>
                  </a:lnTo>
                  <a:lnTo>
                    <a:pt x="202" y="28"/>
                  </a:lnTo>
                  <a:lnTo>
                    <a:pt x="164" y="4"/>
                  </a:lnTo>
                  <a:lnTo>
                    <a:pt x="117" y="0"/>
                  </a:lnTo>
                  <a:close/>
                  <a:moveTo>
                    <a:pt x="117" y="229"/>
                  </a:moveTo>
                  <a:lnTo>
                    <a:pt x="117" y="229"/>
                  </a:lnTo>
                  <a:lnTo>
                    <a:pt x="113" y="229"/>
                  </a:lnTo>
                  <a:lnTo>
                    <a:pt x="89" y="220"/>
                  </a:lnTo>
                  <a:lnTo>
                    <a:pt x="70" y="201"/>
                  </a:lnTo>
                  <a:lnTo>
                    <a:pt x="56" y="164"/>
                  </a:lnTo>
                  <a:lnTo>
                    <a:pt x="52" y="140"/>
                  </a:lnTo>
                  <a:lnTo>
                    <a:pt x="52" y="112"/>
                  </a:lnTo>
                  <a:lnTo>
                    <a:pt x="56" y="65"/>
                  </a:lnTo>
                  <a:lnTo>
                    <a:pt x="70" y="37"/>
                  </a:lnTo>
                  <a:lnTo>
                    <a:pt x="89" y="18"/>
                  </a:lnTo>
                  <a:lnTo>
                    <a:pt x="113" y="9"/>
                  </a:lnTo>
                  <a:lnTo>
                    <a:pt x="141" y="18"/>
                  </a:lnTo>
                  <a:lnTo>
                    <a:pt x="160" y="42"/>
                  </a:lnTo>
                  <a:lnTo>
                    <a:pt x="174" y="75"/>
                  </a:lnTo>
                  <a:lnTo>
                    <a:pt x="178" y="126"/>
                  </a:lnTo>
                  <a:lnTo>
                    <a:pt x="174" y="164"/>
                  </a:lnTo>
                  <a:lnTo>
                    <a:pt x="164" y="197"/>
                  </a:lnTo>
                  <a:lnTo>
                    <a:pt x="145" y="220"/>
                  </a:lnTo>
                  <a:lnTo>
                    <a:pt x="131" y="225"/>
                  </a:lnTo>
                  <a:lnTo>
                    <a:pt x="117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3" name="Freeform 61"/>
            <p:cNvSpPr>
              <a:spLocks/>
            </p:cNvSpPr>
            <p:nvPr/>
          </p:nvSpPr>
          <p:spPr bwMode="auto">
            <a:xfrm>
              <a:off x="6452601" y="810057"/>
              <a:ext cx="110358" cy="126063"/>
            </a:xfrm>
            <a:custGeom>
              <a:avLst/>
              <a:gdLst>
                <a:gd name="T0" fmla="*/ 136 w 215"/>
                <a:gd name="T1" fmla="*/ 225 h 243"/>
                <a:gd name="T2" fmla="*/ 117 w 215"/>
                <a:gd name="T3" fmla="*/ 225 h 243"/>
                <a:gd name="T4" fmla="*/ 103 w 215"/>
                <a:gd name="T5" fmla="*/ 215 h 243"/>
                <a:gd name="T6" fmla="*/ 75 w 215"/>
                <a:gd name="T7" fmla="*/ 192 h 243"/>
                <a:gd name="T8" fmla="*/ 56 w 215"/>
                <a:gd name="T9" fmla="*/ 154 h 243"/>
                <a:gd name="T10" fmla="*/ 51 w 215"/>
                <a:gd name="T11" fmla="*/ 117 h 243"/>
                <a:gd name="T12" fmla="*/ 56 w 215"/>
                <a:gd name="T13" fmla="*/ 75 h 243"/>
                <a:gd name="T14" fmla="*/ 70 w 215"/>
                <a:gd name="T15" fmla="*/ 42 h 243"/>
                <a:gd name="T16" fmla="*/ 94 w 215"/>
                <a:gd name="T17" fmla="*/ 23 h 243"/>
                <a:gd name="T18" fmla="*/ 126 w 215"/>
                <a:gd name="T19" fmla="*/ 14 h 243"/>
                <a:gd name="T20" fmla="*/ 150 w 215"/>
                <a:gd name="T21" fmla="*/ 18 h 243"/>
                <a:gd name="T22" fmla="*/ 173 w 215"/>
                <a:gd name="T23" fmla="*/ 32 h 243"/>
                <a:gd name="T24" fmla="*/ 187 w 215"/>
                <a:gd name="T25" fmla="*/ 51 h 243"/>
                <a:gd name="T26" fmla="*/ 192 w 215"/>
                <a:gd name="T27" fmla="*/ 75 h 243"/>
                <a:gd name="T28" fmla="*/ 206 w 215"/>
                <a:gd name="T29" fmla="*/ 75 h 243"/>
                <a:gd name="T30" fmla="*/ 206 w 215"/>
                <a:gd name="T31" fmla="*/ 9 h 243"/>
                <a:gd name="T32" fmla="*/ 192 w 215"/>
                <a:gd name="T33" fmla="*/ 9 h 243"/>
                <a:gd name="T34" fmla="*/ 155 w 215"/>
                <a:gd name="T35" fmla="*/ 0 h 243"/>
                <a:gd name="T36" fmla="*/ 122 w 215"/>
                <a:gd name="T37" fmla="*/ 0 h 243"/>
                <a:gd name="T38" fmla="*/ 75 w 215"/>
                <a:gd name="T39" fmla="*/ 4 h 243"/>
                <a:gd name="T40" fmla="*/ 33 w 215"/>
                <a:gd name="T41" fmla="*/ 28 h 243"/>
                <a:gd name="T42" fmla="*/ 9 w 215"/>
                <a:gd name="T43" fmla="*/ 61 h 243"/>
                <a:gd name="T44" fmla="*/ 0 w 215"/>
                <a:gd name="T45" fmla="*/ 84 h 243"/>
                <a:gd name="T46" fmla="*/ 0 w 215"/>
                <a:gd name="T47" fmla="*/ 112 h 243"/>
                <a:gd name="T48" fmla="*/ 0 w 215"/>
                <a:gd name="T49" fmla="*/ 140 h 243"/>
                <a:gd name="T50" fmla="*/ 4 w 215"/>
                <a:gd name="T51" fmla="*/ 168 h 243"/>
                <a:gd name="T52" fmla="*/ 33 w 215"/>
                <a:gd name="T53" fmla="*/ 206 h 243"/>
                <a:gd name="T54" fmla="*/ 70 w 215"/>
                <a:gd name="T55" fmla="*/ 234 h 243"/>
                <a:gd name="T56" fmla="*/ 122 w 215"/>
                <a:gd name="T57" fmla="*/ 243 h 243"/>
                <a:gd name="T58" fmla="*/ 155 w 215"/>
                <a:gd name="T59" fmla="*/ 239 h 243"/>
                <a:gd name="T60" fmla="*/ 178 w 215"/>
                <a:gd name="T61" fmla="*/ 234 h 243"/>
                <a:gd name="T62" fmla="*/ 197 w 215"/>
                <a:gd name="T63" fmla="*/ 225 h 243"/>
                <a:gd name="T64" fmla="*/ 215 w 215"/>
                <a:gd name="T65" fmla="*/ 220 h 243"/>
                <a:gd name="T66" fmla="*/ 215 w 215"/>
                <a:gd name="T67" fmla="*/ 182 h 243"/>
                <a:gd name="T68" fmla="*/ 206 w 215"/>
                <a:gd name="T69" fmla="*/ 182 h 243"/>
                <a:gd name="T70" fmla="*/ 197 w 215"/>
                <a:gd name="T71" fmla="*/ 201 h 243"/>
                <a:gd name="T72" fmla="*/ 178 w 215"/>
                <a:gd name="T73" fmla="*/ 215 h 243"/>
                <a:gd name="T74" fmla="*/ 159 w 215"/>
                <a:gd name="T75" fmla="*/ 225 h 243"/>
                <a:gd name="T76" fmla="*/ 136 w 215"/>
                <a:gd name="T77" fmla="*/ 22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5" h="243">
                  <a:moveTo>
                    <a:pt x="136" y="225"/>
                  </a:moveTo>
                  <a:lnTo>
                    <a:pt x="117" y="225"/>
                  </a:lnTo>
                  <a:lnTo>
                    <a:pt x="103" y="215"/>
                  </a:lnTo>
                  <a:lnTo>
                    <a:pt x="75" y="192"/>
                  </a:lnTo>
                  <a:lnTo>
                    <a:pt x="56" y="154"/>
                  </a:lnTo>
                  <a:lnTo>
                    <a:pt x="51" y="117"/>
                  </a:lnTo>
                  <a:lnTo>
                    <a:pt x="56" y="75"/>
                  </a:lnTo>
                  <a:lnTo>
                    <a:pt x="70" y="42"/>
                  </a:lnTo>
                  <a:lnTo>
                    <a:pt x="94" y="23"/>
                  </a:lnTo>
                  <a:lnTo>
                    <a:pt x="126" y="14"/>
                  </a:lnTo>
                  <a:lnTo>
                    <a:pt x="150" y="18"/>
                  </a:lnTo>
                  <a:lnTo>
                    <a:pt x="173" y="32"/>
                  </a:lnTo>
                  <a:lnTo>
                    <a:pt x="187" y="51"/>
                  </a:lnTo>
                  <a:lnTo>
                    <a:pt x="192" y="75"/>
                  </a:lnTo>
                  <a:lnTo>
                    <a:pt x="206" y="75"/>
                  </a:lnTo>
                  <a:lnTo>
                    <a:pt x="206" y="9"/>
                  </a:lnTo>
                  <a:lnTo>
                    <a:pt x="192" y="9"/>
                  </a:lnTo>
                  <a:lnTo>
                    <a:pt x="155" y="0"/>
                  </a:lnTo>
                  <a:lnTo>
                    <a:pt x="122" y="0"/>
                  </a:lnTo>
                  <a:lnTo>
                    <a:pt x="75" y="4"/>
                  </a:lnTo>
                  <a:lnTo>
                    <a:pt x="33" y="28"/>
                  </a:lnTo>
                  <a:lnTo>
                    <a:pt x="9" y="61"/>
                  </a:lnTo>
                  <a:lnTo>
                    <a:pt x="0" y="84"/>
                  </a:lnTo>
                  <a:lnTo>
                    <a:pt x="0" y="112"/>
                  </a:lnTo>
                  <a:lnTo>
                    <a:pt x="0" y="140"/>
                  </a:lnTo>
                  <a:lnTo>
                    <a:pt x="4" y="168"/>
                  </a:lnTo>
                  <a:lnTo>
                    <a:pt x="33" y="206"/>
                  </a:lnTo>
                  <a:lnTo>
                    <a:pt x="70" y="234"/>
                  </a:lnTo>
                  <a:lnTo>
                    <a:pt x="122" y="243"/>
                  </a:lnTo>
                  <a:lnTo>
                    <a:pt x="155" y="239"/>
                  </a:lnTo>
                  <a:lnTo>
                    <a:pt x="178" y="234"/>
                  </a:lnTo>
                  <a:lnTo>
                    <a:pt x="197" y="225"/>
                  </a:lnTo>
                  <a:lnTo>
                    <a:pt x="215" y="220"/>
                  </a:lnTo>
                  <a:lnTo>
                    <a:pt x="215" y="182"/>
                  </a:lnTo>
                  <a:lnTo>
                    <a:pt x="206" y="182"/>
                  </a:lnTo>
                  <a:lnTo>
                    <a:pt x="197" y="201"/>
                  </a:lnTo>
                  <a:lnTo>
                    <a:pt x="178" y="215"/>
                  </a:lnTo>
                  <a:lnTo>
                    <a:pt x="159" y="225"/>
                  </a:lnTo>
                  <a:lnTo>
                    <a:pt x="136" y="2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4" name="Freeform 62"/>
            <p:cNvSpPr>
              <a:spLocks noEditPoints="1"/>
            </p:cNvSpPr>
            <p:nvPr/>
          </p:nvSpPr>
          <p:spPr bwMode="auto">
            <a:xfrm>
              <a:off x="6587734" y="812309"/>
              <a:ext cx="96846" cy="123812"/>
            </a:xfrm>
            <a:custGeom>
              <a:avLst/>
              <a:gdLst>
                <a:gd name="T0" fmla="*/ 127 w 188"/>
                <a:gd name="T1" fmla="*/ 113 h 239"/>
                <a:gd name="T2" fmla="*/ 127 w 188"/>
                <a:gd name="T3" fmla="*/ 108 h 239"/>
                <a:gd name="T4" fmla="*/ 146 w 188"/>
                <a:gd name="T5" fmla="*/ 103 h 239"/>
                <a:gd name="T6" fmla="*/ 164 w 188"/>
                <a:gd name="T7" fmla="*/ 89 h 239"/>
                <a:gd name="T8" fmla="*/ 174 w 188"/>
                <a:gd name="T9" fmla="*/ 75 h 239"/>
                <a:gd name="T10" fmla="*/ 179 w 188"/>
                <a:gd name="T11" fmla="*/ 52 h 239"/>
                <a:gd name="T12" fmla="*/ 169 w 188"/>
                <a:gd name="T13" fmla="*/ 28 h 239"/>
                <a:gd name="T14" fmla="*/ 155 w 188"/>
                <a:gd name="T15" fmla="*/ 10 h 239"/>
                <a:gd name="T16" fmla="*/ 132 w 188"/>
                <a:gd name="T17" fmla="*/ 0 h 239"/>
                <a:gd name="T18" fmla="*/ 104 w 188"/>
                <a:gd name="T19" fmla="*/ 0 h 239"/>
                <a:gd name="T20" fmla="*/ 0 w 188"/>
                <a:gd name="T21" fmla="*/ 0 h 239"/>
                <a:gd name="T22" fmla="*/ 0 w 188"/>
                <a:gd name="T23" fmla="*/ 10 h 239"/>
                <a:gd name="T24" fmla="*/ 29 w 188"/>
                <a:gd name="T25" fmla="*/ 19 h 239"/>
                <a:gd name="T26" fmla="*/ 29 w 188"/>
                <a:gd name="T27" fmla="*/ 216 h 239"/>
                <a:gd name="T28" fmla="*/ 0 w 188"/>
                <a:gd name="T29" fmla="*/ 225 h 239"/>
                <a:gd name="T30" fmla="*/ 0 w 188"/>
                <a:gd name="T31" fmla="*/ 239 h 239"/>
                <a:gd name="T32" fmla="*/ 104 w 188"/>
                <a:gd name="T33" fmla="*/ 239 h 239"/>
                <a:gd name="T34" fmla="*/ 108 w 188"/>
                <a:gd name="T35" fmla="*/ 239 h 239"/>
                <a:gd name="T36" fmla="*/ 136 w 188"/>
                <a:gd name="T37" fmla="*/ 235 h 239"/>
                <a:gd name="T38" fmla="*/ 164 w 188"/>
                <a:gd name="T39" fmla="*/ 221 h 239"/>
                <a:gd name="T40" fmla="*/ 179 w 188"/>
                <a:gd name="T41" fmla="*/ 202 h 239"/>
                <a:gd name="T42" fmla="*/ 188 w 188"/>
                <a:gd name="T43" fmla="*/ 174 h 239"/>
                <a:gd name="T44" fmla="*/ 183 w 188"/>
                <a:gd name="T45" fmla="*/ 146 h 239"/>
                <a:gd name="T46" fmla="*/ 169 w 188"/>
                <a:gd name="T47" fmla="*/ 132 h 239"/>
                <a:gd name="T48" fmla="*/ 150 w 188"/>
                <a:gd name="T49" fmla="*/ 117 h 239"/>
                <a:gd name="T50" fmla="*/ 127 w 188"/>
                <a:gd name="T51" fmla="*/ 113 h 239"/>
                <a:gd name="T52" fmla="*/ 75 w 188"/>
                <a:gd name="T53" fmla="*/ 14 h 239"/>
                <a:gd name="T54" fmla="*/ 75 w 188"/>
                <a:gd name="T55" fmla="*/ 14 h 239"/>
                <a:gd name="T56" fmla="*/ 89 w 188"/>
                <a:gd name="T57" fmla="*/ 14 h 239"/>
                <a:gd name="T58" fmla="*/ 104 w 188"/>
                <a:gd name="T59" fmla="*/ 19 h 239"/>
                <a:gd name="T60" fmla="*/ 122 w 188"/>
                <a:gd name="T61" fmla="*/ 33 h 239"/>
                <a:gd name="T62" fmla="*/ 127 w 188"/>
                <a:gd name="T63" fmla="*/ 42 h 239"/>
                <a:gd name="T64" fmla="*/ 127 w 188"/>
                <a:gd name="T65" fmla="*/ 61 h 239"/>
                <a:gd name="T66" fmla="*/ 122 w 188"/>
                <a:gd name="T67" fmla="*/ 89 h 239"/>
                <a:gd name="T68" fmla="*/ 113 w 188"/>
                <a:gd name="T69" fmla="*/ 99 h 239"/>
                <a:gd name="T70" fmla="*/ 104 w 188"/>
                <a:gd name="T71" fmla="*/ 103 h 239"/>
                <a:gd name="T72" fmla="*/ 94 w 188"/>
                <a:gd name="T73" fmla="*/ 108 h 239"/>
                <a:gd name="T74" fmla="*/ 75 w 188"/>
                <a:gd name="T75" fmla="*/ 108 h 239"/>
                <a:gd name="T76" fmla="*/ 75 w 188"/>
                <a:gd name="T77" fmla="*/ 14 h 239"/>
                <a:gd name="T78" fmla="*/ 104 w 188"/>
                <a:gd name="T79" fmla="*/ 221 h 239"/>
                <a:gd name="T80" fmla="*/ 104 w 188"/>
                <a:gd name="T81" fmla="*/ 221 h 239"/>
                <a:gd name="T82" fmla="*/ 85 w 188"/>
                <a:gd name="T83" fmla="*/ 216 h 239"/>
                <a:gd name="T84" fmla="*/ 75 w 188"/>
                <a:gd name="T85" fmla="*/ 207 h 239"/>
                <a:gd name="T86" fmla="*/ 75 w 188"/>
                <a:gd name="T87" fmla="*/ 117 h 239"/>
                <a:gd name="T88" fmla="*/ 94 w 188"/>
                <a:gd name="T89" fmla="*/ 117 h 239"/>
                <a:gd name="T90" fmla="*/ 104 w 188"/>
                <a:gd name="T91" fmla="*/ 117 h 239"/>
                <a:gd name="T92" fmla="*/ 118 w 188"/>
                <a:gd name="T93" fmla="*/ 127 h 239"/>
                <a:gd name="T94" fmla="*/ 132 w 188"/>
                <a:gd name="T95" fmla="*/ 136 h 239"/>
                <a:gd name="T96" fmla="*/ 136 w 188"/>
                <a:gd name="T97" fmla="*/ 155 h 239"/>
                <a:gd name="T98" fmla="*/ 136 w 188"/>
                <a:gd name="T99" fmla="*/ 174 h 239"/>
                <a:gd name="T100" fmla="*/ 136 w 188"/>
                <a:gd name="T101" fmla="*/ 193 h 239"/>
                <a:gd name="T102" fmla="*/ 132 w 188"/>
                <a:gd name="T103" fmla="*/ 207 h 239"/>
                <a:gd name="T104" fmla="*/ 118 w 188"/>
                <a:gd name="T105" fmla="*/ 216 h 239"/>
                <a:gd name="T106" fmla="*/ 104 w 188"/>
                <a:gd name="T107" fmla="*/ 22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" h="239">
                  <a:moveTo>
                    <a:pt x="127" y="113"/>
                  </a:moveTo>
                  <a:lnTo>
                    <a:pt x="127" y="108"/>
                  </a:lnTo>
                  <a:lnTo>
                    <a:pt x="146" y="103"/>
                  </a:lnTo>
                  <a:lnTo>
                    <a:pt x="164" y="89"/>
                  </a:lnTo>
                  <a:lnTo>
                    <a:pt x="174" y="75"/>
                  </a:lnTo>
                  <a:lnTo>
                    <a:pt x="179" y="52"/>
                  </a:lnTo>
                  <a:lnTo>
                    <a:pt x="169" y="28"/>
                  </a:lnTo>
                  <a:lnTo>
                    <a:pt x="155" y="10"/>
                  </a:lnTo>
                  <a:lnTo>
                    <a:pt x="132" y="0"/>
                  </a:lnTo>
                  <a:lnTo>
                    <a:pt x="10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9" y="19"/>
                  </a:lnTo>
                  <a:lnTo>
                    <a:pt x="29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04" y="239"/>
                  </a:lnTo>
                  <a:lnTo>
                    <a:pt x="108" y="239"/>
                  </a:lnTo>
                  <a:lnTo>
                    <a:pt x="136" y="235"/>
                  </a:lnTo>
                  <a:lnTo>
                    <a:pt x="164" y="221"/>
                  </a:lnTo>
                  <a:lnTo>
                    <a:pt x="179" y="202"/>
                  </a:lnTo>
                  <a:lnTo>
                    <a:pt x="188" y="174"/>
                  </a:lnTo>
                  <a:lnTo>
                    <a:pt x="183" y="146"/>
                  </a:lnTo>
                  <a:lnTo>
                    <a:pt x="169" y="132"/>
                  </a:lnTo>
                  <a:lnTo>
                    <a:pt x="150" y="117"/>
                  </a:lnTo>
                  <a:lnTo>
                    <a:pt x="127" y="113"/>
                  </a:lnTo>
                  <a:close/>
                  <a:moveTo>
                    <a:pt x="75" y="14"/>
                  </a:moveTo>
                  <a:lnTo>
                    <a:pt x="75" y="14"/>
                  </a:lnTo>
                  <a:lnTo>
                    <a:pt x="89" y="14"/>
                  </a:lnTo>
                  <a:lnTo>
                    <a:pt x="104" y="19"/>
                  </a:lnTo>
                  <a:lnTo>
                    <a:pt x="122" y="33"/>
                  </a:lnTo>
                  <a:lnTo>
                    <a:pt x="127" y="42"/>
                  </a:lnTo>
                  <a:lnTo>
                    <a:pt x="127" y="61"/>
                  </a:lnTo>
                  <a:lnTo>
                    <a:pt x="122" y="89"/>
                  </a:lnTo>
                  <a:lnTo>
                    <a:pt x="113" y="99"/>
                  </a:lnTo>
                  <a:lnTo>
                    <a:pt x="104" y="103"/>
                  </a:lnTo>
                  <a:lnTo>
                    <a:pt x="94" y="108"/>
                  </a:lnTo>
                  <a:lnTo>
                    <a:pt x="75" y="108"/>
                  </a:lnTo>
                  <a:lnTo>
                    <a:pt x="75" y="14"/>
                  </a:lnTo>
                  <a:close/>
                  <a:moveTo>
                    <a:pt x="104" y="221"/>
                  </a:moveTo>
                  <a:lnTo>
                    <a:pt x="104" y="221"/>
                  </a:lnTo>
                  <a:lnTo>
                    <a:pt x="85" y="216"/>
                  </a:lnTo>
                  <a:lnTo>
                    <a:pt x="75" y="207"/>
                  </a:lnTo>
                  <a:lnTo>
                    <a:pt x="75" y="117"/>
                  </a:lnTo>
                  <a:lnTo>
                    <a:pt x="94" y="117"/>
                  </a:lnTo>
                  <a:lnTo>
                    <a:pt x="104" y="117"/>
                  </a:lnTo>
                  <a:lnTo>
                    <a:pt x="118" y="127"/>
                  </a:lnTo>
                  <a:lnTo>
                    <a:pt x="132" y="136"/>
                  </a:lnTo>
                  <a:lnTo>
                    <a:pt x="136" y="155"/>
                  </a:lnTo>
                  <a:lnTo>
                    <a:pt x="136" y="174"/>
                  </a:lnTo>
                  <a:lnTo>
                    <a:pt x="136" y="193"/>
                  </a:lnTo>
                  <a:lnTo>
                    <a:pt x="132" y="207"/>
                  </a:lnTo>
                  <a:lnTo>
                    <a:pt x="118" y="216"/>
                  </a:lnTo>
                  <a:lnTo>
                    <a:pt x="104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5" name="Freeform 63"/>
            <p:cNvSpPr>
              <a:spLocks/>
            </p:cNvSpPr>
            <p:nvPr/>
          </p:nvSpPr>
          <p:spPr bwMode="auto">
            <a:xfrm>
              <a:off x="6711607" y="812309"/>
              <a:ext cx="90089" cy="123812"/>
            </a:xfrm>
            <a:custGeom>
              <a:avLst/>
              <a:gdLst>
                <a:gd name="T0" fmla="*/ 145 w 173"/>
                <a:gd name="T1" fmla="*/ 216 h 239"/>
                <a:gd name="T2" fmla="*/ 70 w 173"/>
                <a:gd name="T3" fmla="*/ 216 h 239"/>
                <a:gd name="T4" fmla="*/ 70 w 173"/>
                <a:gd name="T5" fmla="*/ 117 h 239"/>
                <a:gd name="T6" fmla="*/ 112 w 173"/>
                <a:gd name="T7" fmla="*/ 117 h 239"/>
                <a:gd name="T8" fmla="*/ 121 w 173"/>
                <a:gd name="T9" fmla="*/ 150 h 239"/>
                <a:gd name="T10" fmla="*/ 136 w 173"/>
                <a:gd name="T11" fmla="*/ 150 h 239"/>
                <a:gd name="T12" fmla="*/ 131 w 173"/>
                <a:gd name="T13" fmla="*/ 108 h 239"/>
                <a:gd name="T14" fmla="*/ 136 w 173"/>
                <a:gd name="T15" fmla="*/ 71 h 239"/>
                <a:gd name="T16" fmla="*/ 121 w 173"/>
                <a:gd name="T17" fmla="*/ 71 h 239"/>
                <a:gd name="T18" fmla="*/ 112 w 173"/>
                <a:gd name="T19" fmla="*/ 103 h 239"/>
                <a:gd name="T20" fmla="*/ 70 w 173"/>
                <a:gd name="T21" fmla="*/ 103 h 239"/>
                <a:gd name="T22" fmla="*/ 70 w 173"/>
                <a:gd name="T23" fmla="*/ 24 h 239"/>
                <a:gd name="T24" fmla="*/ 140 w 173"/>
                <a:gd name="T25" fmla="*/ 24 h 239"/>
                <a:gd name="T26" fmla="*/ 150 w 173"/>
                <a:gd name="T27" fmla="*/ 61 h 239"/>
                <a:gd name="T28" fmla="*/ 164 w 173"/>
                <a:gd name="T29" fmla="*/ 61 h 239"/>
                <a:gd name="T30" fmla="*/ 159 w 173"/>
                <a:gd name="T31" fmla="*/ 0 h 239"/>
                <a:gd name="T32" fmla="*/ 145 w 173"/>
                <a:gd name="T33" fmla="*/ 0 h 239"/>
                <a:gd name="T34" fmla="*/ 0 w 173"/>
                <a:gd name="T35" fmla="*/ 0 h 239"/>
                <a:gd name="T36" fmla="*/ 0 w 173"/>
                <a:gd name="T37" fmla="*/ 10 h 239"/>
                <a:gd name="T38" fmla="*/ 23 w 173"/>
                <a:gd name="T39" fmla="*/ 19 h 239"/>
                <a:gd name="T40" fmla="*/ 23 w 173"/>
                <a:gd name="T41" fmla="*/ 216 h 239"/>
                <a:gd name="T42" fmla="*/ 0 w 173"/>
                <a:gd name="T43" fmla="*/ 225 h 239"/>
                <a:gd name="T44" fmla="*/ 0 w 173"/>
                <a:gd name="T45" fmla="*/ 239 h 239"/>
                <a:gd name="T46" fmla="*/ 164 w 173"/>
                <a:gd name="T47" fmla="*/ 239 h 239"/>
                <a:gd name="T48" fmla="*/ 173 w 173"/>
                <a:gd name="T49" fmla="*/ 169 h 239"/>
                <a:gd name="T50" fmla="*/ 159 w 173"/>
                <a:gd name="T51" fmla="*/ 169 h 239"/>
                <a:gd name="T52" fmla="*/ 145 w 173"/>
                <a:gd name="T53" fmla="*/ 21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239">
                  <a:moveTo>
                    <a:pt x="145" y="216"/>
                  </a:moveTo>
                  <a:lnTo>
                    <a:pt x="70" y="216"/>
                  </a:lnTo>
                  <a:lnTo>
                    <a:pt x="70" y="117"/>
                  </a:lnTo>
                  <a:lnTo>
                    <a:pt x="112" y="117"/>
                  </a:lnTo>
                  <a:lnTo>
                    <a:pt x="121" y="150"/>
                  </a:lnTo>
                  <a:lnTo>
                    <a:pt x="136" y="150"/>
                  </a:lnTo>
                  <a:lnTo>
                    <a:pt x="131" y="108"/>
                  </a:lnTo>
                  <a:lnTo>
                    <a:pt x="136" y="71"/>
                  </a:lnTo>
                  <a:lnTo>
                    <a:pt x="121" y="71"/>
                  </a:lnTo>
                  <a:lnTo>
                    <a:pt x="112" y="103"/>
                  </a:lnTo>
                  <a:lnTo>
                    <a:pt x="70" y="103"/>
                  </a:lnTo>
                  <a:lnTo>
                    <a:pt x="70" y="24"/>
                  </a:lnTo>
                  <a:lnTo>
                    <a:pt x="140" y="24"/>
                  </a:lnTo>
                  <a:lnTo>
                    <a:pt x="150" y="61"/>
                  </a:lnTo>
                  <a:lnTo>
                    <a:pt x="164" y="61"/>
                  </a:lnTo>
                  <a:lnTo>
                    <a:pt x="159" y="0"/>
                  </a:lnTo>
                  <a:lnTo>
                    <a:pt x="145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9"/>
                  </a:lnTo>
                  <a:lnTo>
                    <a:pt x="2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4" y="239"/>
                  </a:lnTo>
                  <a:lnTo>
                    <a:pt x="173" y="169"/>
                  </a:lnTo>
                  <a:lnTo>
                    <a:pt x="159" y="169"/>
                  </a:lnTo>
                  <a:lnTo>
                    <a:pt x="145" y="2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6" name="Freeform 64"/>
            <p:cNvSpPr>
              <a:spLocks/>
            </p:cNvSpPr>
            <p:nvPr/>
          </p:nvSpPr>
          <p:spPr bwMode="auto">
            <a:xfrm>
              <a:off x="6828722" y="812309"/>
              <a:ext cx="186933" cy="157579"/>
            </a:xfrm>
            <a:custGeom>
              <a:avLst/>
              <a:gdLst>
                <a:gd name="T0" fmla="*/ 328 w 365"/>
                <a:gd name="T1" fmla="*/ 19 h 305"/>
                <a:gd name="T2" fmla="*/ 361 w 365"/>
                <a:gd name="T3" fmla="*/ 10 h 305"/>
                <a:gd name="T4" fmla="*/ 361 w 365"/>
                <a:gd name="T5" fmla="*/ 0 h 305"/>
                <a:gd name="T6" fmla="*/ 248 w 365"/>
                <a:gd name="T7" fmla="*/ 0 h 305"/>
                <a:gd name="T8" fmla="*/ 248 w 365"/>
                <a:gd name="T9" fmla="*/ 10 h 305"/>
                <a:gd name="T10" fmla="*/ 276 w 365"/>
                <a:gd name="T11" fmla="*/ 19 h 305"/>
                <a:gd name="T12" fmla="*/ 276 w 365"/>
                <a:gd name="T13" fmla="*/ 216 h 305"/>
                <a:gd name="T14" fmla="*/ 201 w 365"/>
                <a:gd name="T15" fmla="*/ 216 h 305"/>
                <a:gd name="T16" fmla="*/ 201 w 365"/>
                <a:gd name="T17" fmla="*/ 19 h 305"/>
                <a:gd name="T18" fmla="*/ 234 w 365"/>
                <a:gd name="T19" fmla="*/ 10 h 305"/>
                <a:gd name="T20" fmla="*/ 234 w 365"/>
                <a:gd name="T21" fmla="*/ 0 h 305"/>
                <a:gd name="T22" fmla="*/ 121 w 365"/>
                <a:gd name="T23" fmla="*/ 0 h 305"/>
                <a:gd name="T24" fmla="*/ 121 w 365"/>
                <a:gd name="T25" fmla="*/ 10 h 305"/>
                <a:gd name="T26" fmla="*/ 154 w 365"/>
                <a:gd name="T27" fmla="*/ 19 h 305"/>
                <a:gd name="T28" fmla="*/ 154 w 365"/>
                <a:gd name="T29" fmla="*/ 216 h 305"/>
                <a:gd name="T30" fmla="*/ 75 w 365"/>
                <a:gd name="T31" fmla="*/ 216 h 305"/>
                <a:gd name="T32" fmla="*/ 75 w 365"/>
                <a:gd name="T33" fmla="*/ 19 h 305"/>
                <a:gd name="T34" fmla="*/ 107 w 365"/>
                <a:gd name="T35" fmla="*/ 10 h 305"/>
                <a:gd name="T36" fmla="*/ 107 w 365"/>
                <a:gd name="T37" fmla="*/ 0 h 305"/>
                <a:gd name="T38" fmla="*/ 0 w 365"/>
                <a:gd name="T39" fmla="*/ 0 h 305"/>
                <a:gd name="T40" fmla="*/ 0 w 365"/>
                <a:gd name="T41" fmla="*/ 10 h 305"/>
                <a:gd name="T42" fmla="*/ 28 w 365"/>
                <a:gd name="T43" fmla="*/ 19 h 305"/>
                <a:gd name="T44" fmla="*/ 28 w 365"/>
                <a:gd name="T45" fmla="*/ 216 h 305"/>
                <a:gd name="T46" fmla="*/ 0 w 365"/>
                <a:gd name="T47" fmla="*/ 221 h 305"/>
                <a:gd name="T48" fmla="*/ 0 w 365"/>
                <a:gd name="T49" fmla="*/ 235 h 305"/>
                <a:gd name="T50" fmla="*/ 337 w 365"/>
                <a:gd name="T51" fmla="*/ 235 h 305"/>
                <a:gd name="T52" fmla="*/ 337 w 365"/>
                <a:gd name="T53" fmla="*/ 305 h 305"/>
                <a:gd name="T54" fmla="*/ 347 w 365"/>
                <a:gd name="T55" fmla="*/ 305 h 305"/>
                <a:gd name="T56" fmla="*/ 365 w 365"/>
                <a:gd name="T57" fmla="*/ 216 h 305"/>
                <a:gd name="T58" fmla="*/ 328 w 365"/>
                <a:gd name="T59" fmla="*/ 216 h 305"/>
                <a:gd name="T60" fmla="*/ 328 w 365"/>
                <a:gd name="T61" fmla="*/ 19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5" h="305">
                  <a:moveTo>
                    <a:pt x="328" y="19"/>
                  </a:moveTo>
                  <a:lnTo>
                    <a:pt x="361" y="10"/>
                  </a:lnTo>
                  <a:lnTo>
                    <a:pt x="361" y="0"/>
                  </a:lnTo>
                  <a:lnTo>
                    <a:pt x="248" y="0"/>
                  </a:lnTo>
                  <a:lnTo>
                    <a:pt x="248" y="10"/>
                  </a:lnTo>
                  <a:lnTo>
                    <a:pt x="276" y="19"/>
                  </a:lnTo>
                  <a:lnTo>
                    <a:pt x="276" y="216"/>
                  </a:lnTo>
                  <a:lnTo>
                    <a:pt x="201" y="216"/>
                  </a:lnTo>
                  <a:lnTo>
                    <a:pt x="201" y="19"/>
                  </a:lnTo>
                  <a:lnTo>
                    <a:pt x="234" y="10"/>
                  </a:lnTo>
                  <a:lnTo>
                    <a:pt x="234" y="0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54" y="19"/>
                  </a:lnTo>
                  <a:lnTo>
                    <a:pt x="154" y="216"/>
                  </a:lnTo>
                  <a:lnTo>
                    <a:pt x="75" y="216"/>
                  </a:lnTo>
                  <a:lnTo>
                    <a:pt x="75" y="19"/>
                  </a:lnTo>
                  <a:lnTo>
                    <a:pt x="107" y="10"/>
                  </a:lnTo>
                  <a:lnTo>
                    <a:pt x="107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1"/>
                  </a:lnTo>
                  <a:lnTo>
                    <a:pt x="0" y="235"/>
                  </a:lnTo>
                  <a:lnTo>
                    <a:pt x="337" y="235"/>
                  </a:lnTo>
                  <a:lnTo>
                    <a:pt x="337" y="305"/>
                  </a:lnTo>
                  <a:lnTo>
                    <a:pt x="347" y="305"/>
                  </a:lnTo>
                  <a:lnTo>
                    <a:pt x="365" y="216"/>
                  </a:lnTo>
                  <a:lnTo>
                    <a:pt x="328" y="216"/>
                  </a:lnTo>
                  <a:lnTo>
                    <a:pt x="328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7" name="Freeform 65"/>
            <p:cNvSpPr>
              <a:spLocks/>
            </p:cNvSpPr>
            <p:nvPr/>
          </p:nvSpPr>
          <p:spPr bwMode="auto">
            <a:xfrm>
              <a:off x="7033673" y="812309"/>
              <a:ext cx="90089" cy="123812"/>
            </a:xfrm>
            <a:custGeom>
              <a:avLst/>
              <a:gdLst>
                <a:gd name="T0" fmla="*/ 178 w 178"/>
                <a:gd name="T1" fmla="*/ 169 h 239"/>
                <a:gd name="T2" fmla="*/ 164 w 178"/>
                <a:gd name="T3" fmla="*/ 169 h 239"/>
                <a:gd name="T4" fmla="*/ 145 w 178"/>
                <a:gd name="T5" fmla="*/ 216 h 239"/>
                <a:gd name="T6" fmla="*/ 75 w 178"/>
                <a:gd name="T7" fmla="*/ 216 h 239"/>
                <a:gd name="T8" fmla="*/ 75 w 178"/>
                <a:gd name="T9" fmla="*/ 117 h 239"/>
                <a:gd name="T10" fmla="*/ 117 w 178"/>
                <a:gd name="T11" fmla="*/ 117 h 239"/>
                <a:gd name="T12" fmla="*/ 127 w 178"/>
                <a:gd name="T13" fmla="*/ 150 h 239"/>
                <a:gd name="T14" fmla="*/ 136 w 178"/>
                <a:gd name="T15" fmla="*/ 150 h 239"/>
                <a:gd name="T16" fmla="*/ 136 w 178"/>
                <a:gd name="T17" fmla="*/ 132 h 239"/>
                <a:gd name="T18" fmla="*/ 136 w 178"/>
                <a:gd name="T19" fmla="*/ 108 h 239"/>
                <a:gd name="T20" fmla="*/ 136 w 178"/>
                <a:gd name="T21" fmla="*/ 89 h 239"/>
                <a:gd name="T22" fmla="*/ 136 w 178"/>
                <a:gd name="T23" fmla="*/ 71 h 239"/>
                <a:gd name="T24" fmla="*/ 127 w 178"/>
                <a:gd name="T25" fmla="*/ 71 h 239"/>
                <a:gd name="T26" fmla="*/ 117 w 178"/>
                <a:gd name="T27" fmla="*/ 103 h 239"/>
                <a:gd name="T28" fmla="*/ 75 w 178"/>
                <a:gd name="T29" fmla="*/ 103 h 239"/>
                <a:gd name="T30" fmla="*/ 75 w 178"/>
                <a:gd name="T31" fmla="*/ 24 h 239"/>
                <a:gd name="T32" fmla="*/ 145 w 178"/>
                <a:gd name="T33" fmla="*/ 24 h 239"/>
                <a:gd name="T34" fmla="*/ 155 w 178"/>
                <a:gd name="T35" fmla="*/ 61 h 239"/>
                <a:gd name="T36" fmla="*/ 164 w 178"/>
                <a:gd name="T37" fmla="*/ 61 h 239"/>
                <a:gd name="T38" fmla="*/ 164 w 178"/>
                <a:gd name="T39" fmla="*/ 0 h 239"/>
                <a:gd name="T40" fmla="*/ 0 w 178"/>
                <a:gd name="T41" fmla="*/ 0 h 239"/>
                <a:gd name="T42" fmla="*/ 0 w 178"/>
                <a:gd name="T43" fmla="*/ 10 h 239"/>
                <a:gd name="T44" fmla="*/ 28 w 178"/>
                <a:gd name="T45" fmla="*/ 19 h 239"/>
                <a:gd name="T46" fmla="*/ 28 w 178"/>
                <a:gd name="T47" fmla="*/ 216 h 239"/>
                <a:gd name="T48" fmla="*/ 0 w 178"/>
                <a:gd name="T49" fmla="*/ 225 h 239"/>
                <a:gd name="T50" fmla="*/ 0 w 178"/>
                <a:gd name="T51" fmla="*/ 239 h 239"/>
                <a:gd name="T52" fmla="*/ 169 w 178"/>
                <a:gd name="T53" fmla="*/ 239 h 239"/>
                <a:gd name="T54" fmla="*/ 178 w 178"/>
                <a:gd name="T55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8" h="239">
                  <a:moveTo>
                    <a:pt x="178" y="169"/>
                  </a:moveTo>
                  <a:lnTo>
                    <a:pt x="164" y="169"/>
                  </a:lnTo>
                  <a:lnTo>
                    <a:pt x="145" y="216"/>
                  </a:lnTo>
                  <a:lnTo>
                    <a:pt x="75" y="216"/>
                  </a:lnTo>
                  <a:lnTo>
                    <a:pt x="75" y="117"/>
                  </a:lnTo>
                  <a:lnTo>
                    <a:pt x="117" y="117"/>
                  </a:lnTo>
                  <a:lnTo>
                    <a:pt x="127" y="150"/>
                  </a:lnTo>
                  <a:lnTo>
                    <a:pt x="136" y="150"/>
                  </a:lnTo>
                  <a:lnTo>
                    <a:pt x="136" y="132"/>
                  </a:lnTo>
                  <a:lnTo>
                    <a:pt x="136" y="108"/>
                  </a:lnTo>
                  <a:lnTo>
                    <a:pt x="136" y="89"/>
                  </a:lnTo>
                  <a:lnTo>
                    <a:pt x="136" y="71"/>
                  </a:lnTo>
                  <a:lnTo>
                    <a:pt x="127" y="71"/>
                  </a:lnTo>
                  <a:lnTo>
                    <a:pt x="117" y="103"/>
                  </a:lnTo>
                  <a:lnTo>
                    <a:pt x="75" y="103"/>
                  </a:lnTo>
                  <a:lnTo>
                    <a:pt x="75" y="24"/>
                  </a:lnTo>
                  <a:lnTo>
                    <a:pt x="145" y="24"/>
                  </a:lnTo>
                  <a:lnTo>
                    <a:pt x="155" y="61"/>
                  </a:lnTo>
                  <a:lnTo>
                    <a:pt x="164" y="61"/>
                  </a:lnTo>
                  <a:lnTo>
                    <a:pt x="16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9" y="239"/>
                  </a:lnTo>
                  <a:lnTo>
                    <a:pt x="178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8" name="Freeform 66"/>
            <p:cNvSpPr>
              <a:spLocks/>
            </p:cNvSpPr>
            <p:nvPr/>
          </p:nvSpPr>
          <p:spPr bwMode="auto">
            <a:xfrm>
              <a:off x="7148536" y="812309"/>
              <a:ext cx="130630" cy="123812"/>
            </a:xfrm>
            <a:custGeom>
              <a:avLst/>
              <a:gdLst>
                <a:gd name="T0" fmla="*/ 141 w 253"/>
                <a:gd name="T1" fmla="*/ 10 h 239"/>
                <a:gd name="T2" fmla="*/ 174 w 253"/>
                <a:gd name="T3" fmla="*/ 19 h 239"/>
                <a:gd name="T4" fmla="*/ 174 w 253"/>
                <a:gd name="T5" fmla="*/ 103 h 239"/>
                <a:gd name="T6" fmla="*/ 75 w 253"/>
                <a:gd name="T7" fmla="*/ 103 h 239"/>
                <a:gd name="T8" fmla="*/ 75 w 253"/>
                <a:gd name="T9" fmla="*/ 19 h 239"/>
                <a:gd name="T10" fmla="*/ 113 w 253"/>
                <a:gd name="T11" fmla="*/ 10 h 239"/>
                <a:gd name="T12" fmla="*/ 113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3 w 253"/>
                <a:gd name="T27" fmla="*/ 239 h 239"/>
                <a:gd name="T28" fmla="*/ 113 w 253"/>
                <a:gd name="T29" fmla="*/ 225 h 239"/>
                <a:gd name="T30" fmla="*/ 75 w 253"/>
                <a:gd name="T31" fmla="*/ 216 h 239"/>
                <a:gd name="T32" fmla="*/ 75 w 253"/>
                <a:gd name="T33" fmla="*/ 122 h 239"/>
                <a:gd name="T34" fmla="*/ 174 w 253"/>
                <a:gd name="T35" fmla="*/ 122 h 239"/>
                <a:gd name="T36" fmla="*/ 174 w 253"/>
                <a:gd name="T37" fmla="*/ 216 h 239"/>
                <a:gd name="T38" fmla="*/ 141 w 253"/>
                <a:gd name="T39" fmla="*/ 225 h 239"/>
                <a:gd name="T40" fmla="*/ 141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1 w 253"/>
                <a:gd name="T47" fmla="*/ 216 h 239"/>
                <a:gd name="T48" fmla="*/ 221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1 w 253"/>
                <a:gd name="T55" fmla="*/ 0 h 239"/>
                <a:gd name="T56" fmla="*/ 141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1" y="10"/>
                  </a:moveTo>
                  <a:lnTo>
                    <a:pt x="174" y="19"/>
                  </a:lnTo>
                  <a:lnTo>
                    <a:pt x="174" y="103"/>
                  </a:lnTo>
                  <a:lnTo>
                    <a:pt x="75" y="103"/>
                  </a:lnTo>
                  <a:lnTo>
                    <a:pt x="75" y="19"/>
                  </a:lnTo>
                  <a:lnTo>
                    <a:pt x="113" y="10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3" y="239"/>
                  </a:lnTo>
                  <a:lnTo>
                    <a:pt x="113" y="225"/>
                  </a:lnTo>
                  <a:lnTo>
                    <a:pt x="75" y="216"/>
                  </a:lnTo>
                  <a:lnTo>
                    <a:pt x="75" y="122"/>
                  </a:lnTo>
                  <a:lnTo>
                    <a:pt x="174" y="122"/>
                  </a:lnTo>
                  <a:lnTo>
                    <a:pt x="174" y="216"/>
                  </a:lnTo>
                  <a:lnTo>
                    <a:pt x="141" y="225"/>
                  </a:lnTo>
                  <a:lnTo>
                    <a:pt x="141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1" y="216"/>
                  </a:lnTo>
                  <a:lnTo>
                    <a:pt x="221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1" y="0"/>
                  </a:lnTo>
                  <a:lnTo>
                    <a:pt x="141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7301687" y="812309"/>
              <a:ext cx="130630" cy="123812"/>
            </a:xfrm>
            <a:custGeom>
              <a:avLst/>
              <a:gdLst>
                <a:gd name="T0" fmla="*/ 140 w 253"/>
                <a:gd name="T1" fmla="*/ 10 h 239"/>
                <a:gd name="T2" fmla="*/ 173 w 253"/>
                <a:gd name="T3" fmla="*/ 19 h 239"/>
                <a:gd name="T4" fmla="*/ 173 w 253"/>
                <a:gd name="T5" fmla="*/ 24 h 239"/>
                <a:gd name="T6" fmla="*/ 75 w 253"/>
                <a:gd name="T7" fmla="*/ 183 h 239"/>
                <a:gd name="T8" fmla="*/ 75 w 253"/>
                <a:gd name="T9" fmla="*/ 19 h 239"/>
                <a:gd name="T10" fmla="*/ 112 w 253"/>
                <a:gd name="T11" fmla="*/ 10 h 239"/>
                <a:gd name="T12" fmla="*/ 112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2 w 253"/>
                <a:gd name="T27" fmla="*/ 239 h 239"/>
                <a:gd name="T28" fmla="*/ 112 w 253"/>
                <a:gd name="T29" fmla="*/ 225 h 239"/>
                <a:gd name="T30" fmla="*/ 75 w 253"/>
                <a:gd name="T31" fmla="*/ 216 h 239"/>
                <a:gd name="T32" fmla="*/ 75 w 253"/>
                <a:gd name="T33" fmla="*/ 216 h 239"/>
                <a:gd name="T34" fmla="*/ 173 w 253"/>
                <a:gd name="T35" fmla="*/ 52 h 239"/>
                <a:gd name="T36" fmla="*/ 173 w 253"/>
                <a:gd name="T37" fmla="*/ 216 h 239"/>
                <a:gd name="T38" fmla="*/ 140 w 253"/>
                <a:gd name="T39" fmla="*/ 225 h 239"/>
                <a:gd name="T40" fmla="*/ 140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0 w 253"/>
                <a:gd name="T47" fmla="*/ 216 h 239"/>
                <a:gd name="T48" fmla="*/ 220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0 w 253"/>
                <a:gd name="T55" fmla="*/ 0 h 239"/>
                <a:gd name="T56" fmla="*/ 140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0" y="10"/>
                  </a:moveTo>
                  <a:lnTo>
                    <a:pt x="173" y="19"/>
                  </a:lnTo>
                  <a:lnTo>
                    <a:pt x="173" y="24"/>
                  </a:lnTo>
                  <a:lnTo>
                    <a:pt x="75" y="183"/>
                  </a:lnTo>
                  <a:lnTo>
                    <a:pt x="75" y="19"/>
                  </a:lnTo>
                  <a:lnTo>
                    <a:pt x="112" y="10"/>
                  </a:lnTo>
                  <a:lnTo>
                    <a:pt x="11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173" y="52"/>
                  </a:lnTo>
                  <a:lnTo>
                    <a:pt x="173" y="216"/>
                  </a:lnTo>
                  <a:lnTo>
                    <a:pt x="140" y="225"/>
                  </a:lnTo>
                  <a:lnTo>
                    <a:pt x="140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0" y="216"/>
                  </a:lnTo>
                  <a:lnTo>
                    <a:pt x="220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0" y="0"/>
                  </a:lnTo>
                  <a:lnTo>
                    <a:pt x="14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0" name="Freeform 68"/>
            <p:cNvSpPr>
              <a:spLocks/>
            </p:cNvSpPr>
            <p:nvPr/>
          </p:nvSpPr>
          <p:spPr bwMode="auto">
            <a:xfrm>
              <a:off x="7450333" y="812309"/>
              <a:ext cx="94593" cy="123812"/>
            </a:xfrm>
            <a:custGeom>
              <a:avLst/>
              <a:gdLst>
                <a:gd name="T0" fmla="*/ 169 w 183"/>
                <a:gd name="T1" fmla="*/ 169 h 239"/>
                <a:gd name="T2" fmla="*/ 150 w 183"/>
                <a:gd name="T3" fmla="*/ 216 h 239"/>
                <a:gd name="T4" fmla="*/ 80 w 183"/>
                <a:gd name="T5" fmla="*/ 216 h 239"/>
                <a:gd name="T6" fmla="*/ 80 w 183"/>
                <a:gd name="T7" fmla="*/ 117 h 239"/>
                <a:gd name="T8" fmla="*/ 122 w 183"/>
                <a:gd name="T9" fmla="*/ 117 h 239"/>
                <a:gd name="T10" fmla="*/ 132 w 183"/>
                <a:gd name="T11" fmla="*/ 150 h 239"/>
                <a:gd name="T12" fmla="*/ 141 w 183"/>
                <a:gd name="T13" fmla="*/ 150 h 239"/>
                <a:gd name="T14" fmla="*/ 141 w 183"/>
                <a:gd name="T15" fmla="*/ 108 h 239"/>
                <a:gd name="T16" fmla="*/ 141 w 183"/>
                <a:gd name="T17" fmla="*/ 71 h 239"/>
                <a:gd name="T18" fmla="*/ 132 w 183"/>
                <a:gd name="T19" fmla="*/ 71 h 239"/>
                <a:gd name="T20" fmla="*/ 122 w 183"/>
                <a:gd name="T21" fmla="*/ 103 h 239"/>
                <a:gd name="T22" fmla="*/ 80 w 183"/>
                <a:gd name="T23" fmla="*/ 103 h 239"/>
                <a:gd name="T24" fmla="*/ 80 w 183"/>
                <a:gd name="T25" fmla="*/ 24 h 239"/>
                <a:gd name="T26" fmla="*/ 146 w 183"/>
                <a:gd name="T27" fmla="*/ 24 h 239"/>
                <a:gd name="T28" fmla="*/ 160 w 183"/>
                <a:gd name="T29" fmla="*/ 61 h 239"/>
                <a:gd name="T30" fmla="*/ 169 w 183"/>
                <a:gd name="T31" fmla="*/ 61 h 239"/>
                <a:gd name="T32" fmla="*/ 169 w 183"/>
                <a:gd name="T33" fmla="*/ 0 h 239"/>
                <a:gd name="T34" fmla="*/ 0 w 183"/>
                <a:gd name="T35" fmla="*/ 0 h 239"/>
                <a:gd name="T36" fmla="*/ 0 w 183"/>
                <a:gd name="T37" fmla="*/ 10 h 239"/>
                <a:gd name="T38" fmla="*/ 33 w 183"/>
                <a:gd name="T39" fmla="*/ 19 h 239"/>
                <a:gd name="T40" fmla="*/ 33 w 183"/>
                <a:gd name="T41" fmla="*/ 216 h 239"/>
                <a:gd name="T42" fmla="*/ 0 w 183"/>
                <a:gd name="T43" fmla="*/ 225 h 239"/>
                <a:gd name="T44" fmla="*/ 0 w 183"/>
                <a:gd name="T45" fmla="*/ 239 h 239"/>
                <a:gd name="T46" fmla="*/ 174 w 183"/>
                <a:gd name="T47" fmla="*/ 239 h 239"/>
                <a:gd name="T48" fmla="*/ 183 w 183"/>
                <a:gd name="T49" fmla="*/ 169 h 239"/>
                <a:gd name="T50" fmla="*/ 169 w 183"/>
                <a:gd name="T51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239">
                  <a:moveTo>
                    <a:pt x="169" y="169"/>
                  </a:moveTo>
                  <a:lnTo>
                    <a:pt x="150" y="216"/>
                  </a:lnTo>
                  <a:lnTo>
                    <a:pt x="80" y="216"/>
                  </a:lnTo>
                  <a:lnTo>
                    <a:pt x="80" y="117"/>
                  </a:lnTo>
                  <a:lnTo>
                    <a:pt x="122" y="117"/>
                  </a:lnTo>
                  <a:lnTo>
                    <a:pt x="132" y="150"/>
                  </a:lnTo>
                  <a:lnTo>
                    <a:pt x="141" y="150"/>
                  </a:lnTo>
                  <a:lnTo>
                    <a:pt x="141" y="108"/>
                  </a:lnTo>
                  <a:lnTo>
                    <a:pt x="141" y="71"/>
                  </a:lnTo>
                  <a:lnTo>
                    <a:pt x="132" y="71"/>
                  </a:lnTo>
                  <a:lnTo>
                    <a:pt x="122" y="103"/>
                  </a:lnTo>
                  <a:lnTo>
                    <a:pt x="80" y="103"/>
                  </a:lnTo>
                  <a:lnTo>
                    <a:pt x="80" y="24"/>
                  </a:lnTo>
                  <a:lnTo>
                    <a:pt x="146" y="24"/>
                  </a:lnTo>
                  <a:lnTo>
                    <a:pt x="160" y="61"/>
                  </a:lnTo>
                  <a:lnTo>
                    <a:pt x="169" y="61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74" y="239"/>
                  </a:lnTo>
                  <a:lnTo>
                    <a:pt x="183" y="169"/>
                  </a:lnTo>
                  <a:lnTo>
                    <a:pt x="169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1" name="Freeform 69"/>
            <p:cNvSpPr>
              <a:spLocks noEditPoints="1"/>
            </p:cNvSpPr>
            <p:nvPr/>
          </p:nvSpPr>
          <p:spPr bwMode="auto">
            <a:xfrm>
              <a:off x="6671066" y="443121"/>
              <a:ext cx="238735" cy="308406"/>
            </a:xfrm>
            <a:custGeom>
              <a:avLst/>
              <a:gdLst>
                <a:gd name="T0" fmla="*/ 230 w 464"/>
                <a:gd name="T1" fmla="*/ 595 h 595"/>
                <a:gd name="T2" fmla="*/ 431 w 464"/>
                <a:gd name="T3" fmla="*/ 511 h 595"/>
                <a:gd name="T4" fmla="*/ 464 w 464"/>
                <a:gd name="T5" fmla="*/ 65 h 595"/>
                <a:gd name="T6" fmla="*/ 230 w 464"/>
                <a:gd name="T7" fmla="*/ 0 h 595"/>
                <a:gd name="T8" fmla="*/ 117 w 464"/>
                <a:gd name="T9" fmla="*/ 32 h 595"/>
                <a:gd name="T10" fmla="*/ 0 w 464"/>
                <a:gd name="T11" fmla="*/ 65 h 595"/>
                <a:gd name="T12" fmla="*/ 28 w 464"/>
                <a:gd name="T13" fmla="*/ 511 h 595"/>
                <a:gd name="T14" fmla="*/ 117 w 464"/>
                <a:gd name="T15" fmla="*/ 548 h 595"/>
                <a:gd name="T16" fmla="*/ 230 w 464"/>
                <a:gd name="T17" fmla="*/ 595 h 595"/>
                <a:gd name="T18" fmla="*/ 117 w 464"/>
                <a:gd name="T19" fmla="*/ 61 h 595"/>
                <a:gd name="T20" fmla="*/ 117 w 464"/>
                <a:gd name="T21" fmla="*/ 61 h 595"/>
                <a:gd name="T22" fmla="*/ 164 w 464"/>
                <a:gd name="T23" fmla="*/ 46 h 595"/>
                <a:gd name="T24" fmla="*/ 117 w 464"/>
                <a:gd name="T25" fmla="*/ 126 h 595"/>
                <a:gd name="T26" fmla="*/ 75 w 464"/>
                <a:gd name="T27" fmla="*/ 201 h 595"/>
                <a:gd name="T28" fmla="*/ 75 w 464"/>
                <a:gd name="T29" fmla="*/ 145 h 595"/>
                <a:gd name="T30" fmla="*/ 70 w 464"/>
                <a:gd name="T31" fmla="*/ 75 h 595"/>
                <a:gd name="T32" fmla="*/ 117 w 464"/>
                <a:gd name="T33" fmla="*/ 61 h 595"/>
                <a:gd name="T34" fmla="*/ 56 w 464"/>
                <a:gd name="T35" fmla="*/ 492 h 595"/>
                <a:gd name="T36" fmla="*/ 56 w 464"/>
                <a:gd name="T37" fmla="*/ 492 h 595"/>
                <a:gd name="T38" fmla="*/ 37 w 464"/>
                <a:gd name="T39" fmla="*/ 295 h 595"/>
                <a:gd name="T40" fmla="*/ 80 w 464"/>
                <a:gd name="T41" fmla="*/ 300 h 595"/>
                <a:gd name="T42" fmla="*/ 117 w 464"/>
                <a:gd name="T43" fmla="*/ 243 h 595"/>
                <a:gd name="T44" fmla="*/ 164 w 464"/>
                <a:gd name="T45" fmla="*/ 159 h 595"/>
                <a:gd name="T46" fmla="*/ 164 w 464"/>
                <a:gd name="T47" fmla="*/ 211 h 595"/>
                <a:gd name="T48" fmla="*/ 164 w 464"/>
                <a:gd name="T49" fmla="*/ 304 h 595"/>
                <a:gd name="T50" fmla="*/ 230 w 464"/>
                <a:gd name="T51" fmla="*/ 309 h 595"/>
                <a:gd name="T52" fmla="*/ 230 w 464"/>
                <a:gd name="T53" fmla="*/ 28 h 595"/>
                <a:gd name="T54" fmla="*/ 436 w 464"/>
                <a:gd name="T55" fmla="*/ 84 h 595"/>
                <a:gd name="T56" fmla="*/ 422 w 464"/>
                <a:gd name="T57" fmla="*/ 295 h 595"/>
                <a:gd name="T58" fmla="*/ 361 w 464"/>
                <a:gd name="T59" fmla="*/ 300 h 595"/>
                <a:gd name="T60" fmla="*/ 370 w 464"/>
                <a:gd name="T61" fmla="*/ 121 h 595"/>
                <a:gd name="T62" fmla="*/ 300 w 464"/>
                <a:gd name="T63" fmla="*/ 107 h 595"/>
                <a:gd name="T64" fmla="*/ 295 w 464"/>
                <a:gd name="T65" fmla="*/ 304 h 595"/>
                <a:gd name="T66" fmla="*/ 230 w 464"/>
                <a:gd name="T67" fmla="*/ 309 h 595"/>
                <a:gd name="T68" fmla="*/ 230 w 464"/>
                <a:gd name="T69" fmla="*/ 562 h 595"/>
                <a:gd name="T70" fmla="*/ 117 w 464"/>
                <a:gd name="T71" fmla="*/ 520 h 595"/>
                <a:gd name="T72" fmla="*/ 56 w 464"/>
                <a:gd name="T73" fmla="*/ 49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4" h="595">
                  <a:moveTo>
                    <a:pt x="230" y="595"/>
                  </a:moveTo>
                  <a:lnTo>
                    <a:pt x="431" y="511"/>
                  </a:lnTo>
                  <a:lnTo>
                    <a:pt x="464" y="65"/>
                  </a:lnTo>
                  <a:lnTo>
                    <a:pt x="230" y="0"/>
                  </a:lnTo>
                  <a:lnTo>
                    <a:pt x="117" y="32"/>
                  </a:lnTo>
                  <a:lnTo>
                    <a:pt x="0" y="65"/>
                  </a:lnTo>
                  <a:lnTo>
                    <a:pt x="28" y="511"/>
                  </a:lnTo>
                  <a:lnTo>
                    <a:pt x="117" y="548"/>
                  </a:lnTo>
                  <a:lnTo>
                    <a:pt x="230" y="595"/>
                  </a:lnTo>
                  <a:close/>
                  <a:moveTo>
                    <a:pt x="117" y="61"/>
                  </a:moveTo>
                  <a:lnTo>
                    <a:pt x="117" y="61"/>
                  </a:lnTo>
                  <a:lnTo>
                    <a:pt x="164" y="46"/>
                  </a:lnTo>
                  <a:lnTo>
                    <a:pt x="117" y="126"/>
                  </a:lnTo>
                  <a:lnTo>
                    <a:pt x="75" y="201"/>
                  </a:lnTo>
                  <a:lnTo>
                    <a:pt x="75" y="145"/>
                  </a:lnTo>
                  <a:lnTo>
                    <a:pt x="70" y="75"/>
                  </a:lnTo>
                  <a:lnTo>
                    <a:pt x="117" y="61"/>
                  </a:lnTo>
                  <a:close/>
                  <a:moveTo>
                    <a:pt x="56" y="492"/>
                  </a:moveTo>
                  <a:lnTo>
                    <a:pt x="56" y="492"/>
                  </a:lnTo>
                  <a:lnTo>
                    <a:pt x="37" y="295"/>
                  </a:lnTo>
                  <a:lnTo>
                    <a:pt x="80" y="300"/>
                  </a:lnTo>
                  <a:lnTo>
                    <a:pt x="117" y="243"/>
                  </a:lnTo>
                  <a:lnTo>
                    <a:pt x="164" y="159"/>
                  </a:lnTo>
                  <a:lnTo>
                    <a:pt x="164" y="211"/>
                  </a:lnTo>
                  <a:lnTo>
                    <a:pt x="164" y="304"/>
                  </a:lnTo>
                  <a:lnTo>
                    <a:pt x="230" y="309"/>
                  </a:lnTo>
                  <a:lnTo>
                    <a:pt x="230" y="28"/>
                  </a:lnTo>
                  <a:lnTo>
                    <a:pt x="436" y="84"/>
                  </a:lnTo>
                  <a:lnTo>
                    <a:pt x="422" y="295"/>
                  </a:lnTo>
                  <a:lnTo>
                    <a:pt x="361" y="300"/>
                  </a:lnTo>
                  <a:lnTo>
                    <a:pt x="370" y="121"/>
                  </a:lnTo>
                  <a:lnTo>
                    <a:pt x="300" y="107"/>
                  </a:lnTo>
                  <a:lnTo>
                    <a:pt x="295" y="304"/>
                  </a:lnTo>
                  <a:lnTo>
                    <a:pt x="230" y="309"/>
                  </a:lnTo>
                  <a:lnTo>
                    <a:pt x="230" y="562"/>
                  </a:lnTo>
                  <a:lnTo>
                    <a:pt x="117" y="520"/>
                  </a:lnTo>
                  <a:lnTo>
                    <a:pt x="56" y="4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0" name="Слайд think-cell" r:id="rId6" imgW="359" imgH="360" progId="">
                  <p:embed/>
                </p:oleObj>
              </mc:Choice>
              <mc:Fallback>
                <p:oleObj name="Слайд think-cell" r:id="rId6" imgW="359" imgH="360" progId="">
                  <p:embed/>
                  <p:pic>
                    <p:nvPicPr>
                      <p:cNvPr id="0" name="Picture 1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85953" y="3539067"/>
            <a:ext cx="11685913" cy="1624034"/>
          </a:xfrm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endParaRPr lang="ru-RU" sz="3600" b="1" dirty="0">
              <a:solidFill>
                <a:srgbClr val="2D2B8D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3600" b="1" dirty="0">
                <a:solidFill>
                  <a:srgbClr val="2D2B8D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Тема :</a:t>
            </a:r>
            <a:r>
              <a:rPr lang="en-US" sz="3600" b="1" dirty="0">
                <a:solidFill>
                  <a:srgbClr val="2D2B8D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3600" b="1" dirty="0">
                <a:solidFill>
                  <a:srgbClr val="2D2B8D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современный курс технологии: концепция, стандарт, программа</a:t>
            </a:r>
            <a:endParaRPr lang="ru-RU" sz="3200" b="1" dirty="0">
              <a:solidFill>
                <a:srgbClr val="002060"/>
              </a:solidFill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для 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1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9254339" y="1860330"/>
            <a:ext cx="1023938" cy="336550"/>
            <a:chOff x="8812213" y="4892675"/>
            <a:chExt cx="1023938" cy="336550"/>
          </a:xfrm>
        </p:grpSpPr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8812213" y="4892675"/>
              <a:ext cx="215900" cy="331788"/>
            </a:xfrm>
            <a:custGeom>
              <a:avLst/>
              <a:gdLst>
                <a:gd name="T0" fmla="*/ 137 w 592"/>
                <a:gd name="T1" fmla="*/ 34 h 904"/>
                <a:gd name="T2" fmla="*/ 126 w 592"/>
                <a:gd name="T3" fmla="*/ 55 h 904"/>
                <a:gd name="T4" fmla="*/ 133 w 592"/>
                <a:gd name="T5" fmla="*/ 81 h 904"/>
                <a:gd name="T6" fmla="*/ 146 w 592"/>
                <a:gd name="T7" fmla="*/ 112 h 904"/>
                <a:gd name="T8" fmla="*/ 138 w 592"/>
                <a:gd name="T9" fmla="*/ 135 h 904"/>
                <a:gd name="T10" fmla="*/ 57 w 592"/>
                <a:gd name="T11" fmla="*/ 176 h 904"/>
                <a:gd name="T12" fmla="*/ 42 w 592"/>
                <a:gd name="T13" fmla="*/ 191 h 904"/>
                <a:gd name="T14" fmla="*/ 23 w 592"/>
                <a:gd name="T15" fmla="*/ 240 h 904"/>
                <a:gd name="T16" fmla="*/ 6 w 592"/>
                <a:gd name="T17" fmla="*/ 292 h 904"/>
                <a:gd name="T18" fmla="*/ 7 w 592"/>
                <a:gd name="T19" fmla="*/ 326 h 904"/>
                <a:gd name="T20" fmla="*/ 21 w 592"/>
                <a:gd name="T21" fmla="*/ 371 h 904"/>
                <a:gd name="T22" fmla="*/ 14 w 592"/>
                <a:gd name="T23" fmla="*/ 421 h 904"/>
                <a:gd name="T24" fmla="*/ 175 w 592"/>
                <a:gd name="T25" fmla="*/ 620 h 904"/>
                <a:gd name="T26" fmla="*/ 208 w 592"/>
                <a:gd name="T27" fmla="*/ 661 h 904"/>
                <a:gd name="T28" fmla="*/ 70 w 592"/>
                <a:gd name="T29" fmla="*/ 666 h 904"/>
                <a:gd name="T30" fmla="*/ 86 w 592"/>
                <a:gd name="T31" fmla="*/ 709 h 904"/>
                <a:gd name="T32" fmla="*/ 14 w 592"/>
                <a:gd name="T33" fmla="*/ 768 h 904"/>
                <a:gd name="T34" fmla="*/ 205 w 592"/>
                <a:gd name="T35" fmla="*/ 745 h 904"/>
                <a:gd name="T36" fmla="*/ 275 w 592"/>
                <a:gd name="T37" fmla="*/ 787 h 904"/>
                <a:gd name="T38" fmla="*/ 275 w 592"/>
                <a:gd name="T39" fmla="*/ 756 h 904"/>
                <a:gd name="T40" fmla="*/ 288 w 592"/>
                <a:gd name="T41" fmla="*/ 764 h 904"/>
                <a:gd name="T42" fmla="*/ 295 w 592"/>
                <a:gd name="T43" fmla="*/ 803 h 904"/>
                <a:gd name="T44" fmla="*/ 287 w 592"/>
                <a:gd name="T45" fmla="*/ 846 h 904"/>
                <a:gd name="T46" fmla="*/ 316 w 592"/>
                <a:gd name="T47" fmla="*/ 867 h 904"/>
                <a:gd name="T48" fmla="*/ 334 w 592"/>
                <a:gd name="T49" fmla="*/ 892 h 904"/>
                <a:gd name="T50" fmla="*/ 389 w 592"/>
                <a:gd name="T51" fmla="*/ 898 h 904"/>
                <a:gd name="T52" fmla="*/ 375 w 592"/>
                <a:gd name="T53" fmla="*/ 852 h 904"/>
                <a:gd name="T54" fmla="*/ 340 w 592"/>
                <a:gd name="T55" fmla="*/ 764 h 904"/>
                <a:gd name="T56" fmla="*/ 352 w 592"/>
                <a:gd name="T57" fmla="*/ 756 h 904"/>
                <a:gd name="T58" fmla="*/ 436 w 592"/>
                <a:gd name="T59" fmla="*/ 745 h 904"/>
                <a:gd name="T60" fmla="*/ 352 w 592"/>
                <a:gd name="T61" fmla="*/ 702 h 904"/>
                <a:gd name="T62" fmla="*/ 400 w 592"/>
                <a:gd name="T63" fmla="*/ 655 h 904"/>
                <a:gd name="T64" fmla="*/ 425 w 592"/>
                <a:gd name="T65" fmla="*/ 657 h 904"/>
                <a:gd name="T66" fmla="*/ 448 w 592"/>
                <a:gd name="T67" fmla="*/ 734 h 904"/>
                <a:gd name="T68" fmla="*/ 459 w 592"/>
                <a:gd name="T69" fmla="*/ 759 h 904"/>
                <a:gd name="T70" fmla="*/ 494 w 592"/>
                <a:gd name="T71" fmla="*/ 759 h 904"/>
                <a:gd name="T72" fmla="*/ 581 w 592"/>
                <a:gd name="T73" fmla="*/ 741 h 904"/>
                <a:gd name="T74" fmla="*/ 591 w 592"/>
                <a:gd name="T75" fmla="*/ 730 h 904"/>
                <a:gd name="T76" fmla="*/ 548 w 592"/>
                <a:gd name="T77" fmla="*/ 707 h 904"/>
                <a:gd name="T78" fmla="*/ 452 w 592"/>
                <a:gd name="T79" fmla="*/ 623 h 904"/>
                <a:gd name="T80" fmla="*/ 466 w 592"/>
                <a:gd name="T81" fmla="*/ 585 h 904"/>
                <a:gd name="T82" fmla="*/ 387 w 592"/>
                <a:gd name="T83" fmla="*/ 415 h 904"/>
                <a:gd name="T84" fmla="*/ 370 w 592"/>
                <a:gd name="T85" fmla="*/ 380 h 904"/>
                <a:gd name="T86" fmla="*/ 377 w 592"/>
                <a:gd name="T87" fmla="*/ 358 h 904"/>
                <a:gd name="T88" fmla="*/ 356 w 592"/>
                <a:gd name="T89" fmla="*/ 310 h 904"/>
                <a:gd name="T90" fmla="*/ 325 w 592"/>
                <a:gd name="T91" fmla="*/ 254 h 904"/>
                <a:gd name="T92" fmla="*/ 291 w 592"/>
                <a:gd name="T93" fmla="*/ 186 h 904"/>
                <a:gd name="T94" fmla="*/ 277 w 592"/>
                <a:gd name="T95" fmla="*/ 176 h 904"/>
                <a:gd name="T96" fmla="*/ 211 w 592"/>
                <a:gd name="T97" fmla="*/ 153 h 904"/>
                <a:gd name="T98" fmla="*/ 218 w 592"/>
                <a:gd name="T99" fmla="*/ 140 h 904"/>
                <a:gd name="T100" fmla="*/ 232 w 592"/>
                <a:gd name="T101" fmla="*/ 109 h 904"/>
                <a:gd name="T102" fmla="*/ 239 w 592"/>
                <a:gd name="T103" fmla="*/ 95 h 904"/>
                <a:gd name="T104" fmla="*/ 235 w 592"/>
                <a:gd name="T105" fmla="*/ 74 h 904"/>
                <a:gd name="T106" fmla="*/ 244 w 592"/>
                <a:gd name="T107" fmla="*/ 46 h 904"/>
                <a:gd name="T108" fmla="*/ 234 w 592"/>
                <a:gd name="T109" fmla="*/ 18 h 904"/>
                <a:gd name="T110" fmla="*/ 218 w 592"/>
                <a:gd name="T111" fmla="*/ 11 h 904"/>
                <a:gd name="T112" fmla="*/ 202 w 592"/>
                <a:gd name="T113" fmla="*/ 0 h 904"/>
                <a:gd name="T114" fmla="*/ 163 w 592"/>
                <a:gd name="T115" fmla="*/ 11 h 904"/>
                <a:gd name="T116" fmla="*/ 258 w 592"/>
                <a:gd name="T117" fmla="*/ 620 h 904"/>
                <a:gd name="T118" fmla="*/ 237 w 592"/>
                <a:gd name="T119" fmla="*/ 678 h 904"/>
                <a:gd name="T120" fmla="*/ 227 w 592"/>
                <a:gd name="T121" fmla="*/ 645 h 904"/>
                <a:gd name="T122" fmla="*/ 231 w 592"/>
                <a:gd name="T123" fmla="*/ 9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2" h="904">
                  <a:moveTo>
                    <a:pt x="163" y="11"/>
                  </a:moveTo>
                  <a:cubicBezTo>
                    <a:pt x="161" y="13"/>
                    <a:pt x="157" y="13"/>
                    <a:pt x="155" y="15"/>
                  </a:cubicBezTo>
                  <a:cubicBezTo>
                    <a:pt x="149" y="21"/>
                    <a:pt x="142" y="27"/>
                    <a:pt x="137" y="34"/>
                  </a:cubicBezTo>
                  <a:cubicBezTo>
                    <a:pt x="137" y="34"/>
                    <a:pt x="132" y="39"/>
                    <a:pt x="133" y="39"/>
                  </a:cubicBezTo>
                  <a:cubicBezTo>
                    <a:pt x="128" y="39"/>
                    <a:pt x="129" y="47"/>
                    <a:pt x="128" y="50"/>
                  </a:cubicBezTo>
                  <a:cubicBezTo>
                    <a:pt x="127" y="52"/>
                    <a:pt x="126" y="53"/>
                    <a:pt x="126" y="55"/>
                  </a:cubicBezTo>
                  <a:cubicBezTo>
                    <a:pt x="126" y="57"/>
                    <a:pt x="126" y="60"/>
                    <a:pt x="127" y="62"/>
                  </a:cubicBezTo>
                  <a:cubicBezTo>
                    <a:pt x="127" y="65"/>
                    <a:pt x="127" y="69"/>
                    <a:pt x="128" y="72"/>
                  </a:cubicBezTo>
                  <a:cubicBezTo>
                    <a:pt x="130" y="75"/>
                    <a:pt x="132" y="78"/>
                    <a:pt x="133" y="81"/>
                  </a:cubicBezTo>
                  <a:cubicBezTo>
                    <a:pt x="133" y="84"/>
                    <a:pt x="133" y="88"/>
                    <a:pt x="133" y="92"/>
                  </a:cubicBezTo>
                  <a:cubicBezTo>
                    <a:pt x="134" y="94"/>
                    <a:pt x="134" y="96"/>
                    <a:pt x="135" y="97"/>
                  </a:cubicBezTo>
                  <a:cubicBezTo>
                    <a:pt x="138" y="103"/>
                    <a:pt x="148" y="105"/>
                    <a:pt x="146" y="112"/>
                  </a:cubicBezTo>
                  <a:cubicBezTo>
                    <a:pt x="145" y="118"/>
                    <a:pt x="148" y="125"/>
                    <a:pt x="145" y="130"/>
                  </a:cubicBezTo>
                  <a:cubicBezTo>
                    <a:pt x="144" y="131"/>
                    <a:pt x="143" y="132"/>
                    <a:pt x="142" y="133"/>
                  </a:cubicBezTo>
                  <a:cubicBezTo>
                    <a:pt x="140" y="134"/>
                    <a:pt x="139" y="134"/>
                    <a:pt x="138" y="135"/>
                  </a:cubicBezTo>
                  <a:cubicBezTo>
                    <a:pt x="135" y="138"/>
                    <a:pt x="129" y="149"/>
                    <a:pt x="128" y="153"/>
                  </a:cubicBezTo>
                  <a:cubicBezTo>
                    <a:pt x="126" y="157"/>
                    <a:pt x="125" y="161"/>
                    <a:pt x="121" y="162"/>
                  </a:cubicBezTo>
                  <a:cubicBezTo>
                    <a:pt x="101" y="168"/>
                    <a:pt x="78" y="171"/>
                    <a:pt x="57" y="176"/>
                  </a:cubicBezTo>
                  <a:cubicBezTo>
                    <a:pt x="54" y="177"/>
                    <a:pt x="52" y="179"/>
                    <a:pt x="49" y="181"/>
                  </a:cubicBezTo>
                  <a:cubicBezTo>
                    <a:pt x="47" y="183"/>
                    <a:pt x="45" y="185"/>
                    <a:pt x="43" y="188"/>
                  </a:cubicBezTo>
                  <a:cubicBezTo>
                    <a:pt x="43" y="188"/>
                    <a:pt x="42" y="191"/>
                    <a:pt x="42" y="191"/>
                  </a:cubicBezTo>
                  <a:lnTo>
                    <a:pt x="24" y="192"/>
                  </a:lnTo>
                  <a:lnTo>
                    <a:pt x="27" y="224"/>
                  </a:lnTo>
                  <a:cubicBezTo>
                    <a:pt x="24" y="230"/>
                    <a:pt x="24" y="235"/>
                    <a:pt x="23" y="240"/>
                  </a:cubicBezTo>
                  <a:cubicBezTo>
                    <a:pt x="21" y="248"/>
                    <a:pt x="19" y="256"/>
                    <a:pt x="18" y="264"/>
                  </a:cubicBezTo>
                  <a:cubicBezTo>
                    <a:pt x="16" y="272"/>
                    <a:pt x="16" y="280"/>
                    <a:pt x="11" y="287"/>
                  </a:cubicBezTo>
                  <a:cubicBezTo>
                    <a:pt x="10" y="289"/>
                    <a:pt x="7" y="290"/>
                    <a:pt x="6" y="292"/>
                  </a:cubicBezTo>
                  <a:cubicBezTo>
                    <a:pt x="6" y="295"/>
                    <a:pt x="4" y="298"/>
                    <a:pt x="6" y="302"/>
                  </a:cubicBezTo>
                  <a:cubicBezTo>
                    <a:pt x="7" y="305"/>
                    <a:pt x="10" y="307"/>
                    <a:pt x="11" y="310"/>
                  </a:cubicBezTo>
                  <a:cubicBezTo>
                    <a:pt x="11" y="315"/>
                    <a:pt x="8" y="321"/>
                    <a:pt x="7" y="326"/>
                  </a:cubicBezTo>
                  <a:cubicBezTo>
                    <a:pt x="3" y="339"/>
                    <a:pt x="0" y="357"/>
                    <a:pt x="17" y="363"/>
                  </a:cubicBezTo>
                  <a:cubicBezTo>
                    <a:pt x="20" y="364"/>
                    <a:pt x="23" y="366"/>
                    <a:pt x="22" y="369"/>
                  </a:cubicBezTo>
                  <a:cubicBezTo>
                    <a:pt x="22" y="370"/>
                    <a:pt x="21" y="371"/>
                    <a:pt x="21" y="371"/>
                  </a:cubicBezTo>
                  <a:cubicBezTo>
                    <a:pt x="20" y="377"/>
                    <a:pt x="24" y="384"/>
                    <a:pt x="24" y="384"/>
                  </a:cubicBezTo>
                  <a:lnTo>
                    <a:pt x="13" y="388"/>
                  </a:lnTo>
                  <a:lnTo>
                    <a:pt x="14" y="421"/>
                  </a:lnTo>
                  <a:lnTo>
                    <a:pt x="33" y="421"/>
                  </a:lnTo>
                  <a:cubicBezTo>
                    <a:pt x="37" y="428"/>
                    <a:pt x="56" y="616"/>
                    <a:pt x="61" y="622"/>
                  </a:cubicBezTo>
                  <a:cubicBezTo>
                    <a:pt x="99" y="621"/>
                    <a:pt x="175" y="620"/>
                    <a:pt x="175" y="620"/>
                  </a:cubicBezTo>
                  <a:cubicBezTo>
                    <a:pt x="175" y="620"/>
                    <a:pt x="182" y="642"/>
                    <a:pt x="184" y="644"/>
                  </a:cubicBezTo>
                  <a:lnTo>
                    <a:pt x="209" y="645"/>
                  </a:lnTo>
                  <a:lnTo>
                    <a:pt x="208" y="661"/>
                  </a:lnTo>
                  <a:lnTo>
                    <a:pt x="200" y="661"/>
                  </a:lnTo>
                  <a:cubicBezTo>
                    <a:pt x="200" y="661"/>
                    <a:pt x="199" y="678"/>
                    <a:pt x="197" y="680"/>
                  </a:cubicBezTo>
                  <a:cubicBezTo>
                    <a:pt x="197" y="681"/>
                    <a:pt x="70" y="666"/>
                    <a:pt x="70" y="666"/>
                  </a:cubicBezTo>
                  <a:cubicBezTo>
                    <a:pt x="65" y="665"/>
                    <a:pt x="52" y="677"/>
                    <a:pt x="47" y="679"/>
                  </a:cubicBezTo>
                  <a:lnTo>
                    <a:pt x="47" y="699"/>
                  </a:lnTo>
                  <a:lnTo>
                    <a:pt x="86" y="709"/>
                  </a:lnTo>
                  <a:cubicBezTo>
                    <a:pt x="86" y="709"/>
                    <a:pt x="14" y="730"/>
                    <a:pt x="0" y="734"/>
                  </a:cubicBezTo>
                  <a:lnTo>
                    <a:pt x="0" y="761"/>
                  </a:lnTo>
                  <a:lnTo>
                    <a:pt x="14" y="768"/>
                  </a:lnTo>
                  <a:lnTo>
                    <a:pt x="196" y="743"/>
                  </a:lnTo>
                  <a:cubicBezTo>
                    <a:pt x="196" y="743"/>
                    <a:pt x="198" y="742"/>
                    <a:pt x="199" y="742"/>
                  </a:cubicBezTo>
                  <a:cubicBezTo>
                    <a:pt x="202" y="742"/>
                    <a:pt x="205" y="745"/>
                    <a:pt x="205" y="745"/>
                  </a:cubicBezTo>
                  <a:lnTo>
                    <a:pt x="246" y="808"/>
                  </a:lnTo>
                  <a:lnTo>
                    <a:pt x="273" y="807"/>
                  </a:lnTo>
                  <a:cubicBezTo>
                    <a:pt x="273" y="807"/>
                    <a:pt x="276" y="793"/>
                    <a:pt x="275" y="787"/>
                  </a:cubicBezTo>
                  <a:cubicBezTo>
                    <a:pt x="270" y="772"/>
                    <a:pt x="255" y="740"/>
                    <a:pt x="255" y="740"/>
                  </a:cubicBezTo>
                  <a:lnTo>
                    <a:pt x="273" y="741"/>
                  </a:lnTo>
                  <a:lnTo>
                    <a:pt x="275" y="756"/>
                  </a:lnTo>
                  <a:cubicBezTo>
                    <a:pt x="275" y="756"/>
                    <a:pt x="279" y="760"/>
                    <a:pt x="281" y="760"/>
                  </a:cubicBezTo>
                  <a:cubicBezTo>
                    <a:pt x="281" y="761"/>
                    <a:pt x="284" y="762"/>
                    <a:pt x="284" y="762"/>
                  </a:cubicBezTo>
                  <a:cubicBezTo>
                    <a:pt x="284" y="762"/>
                    <a:pt x="288" y="763"/>
                    <a:pt x="288" y="764"/>
                  </a:cubicBezTo>
                  <a:cubicBezTo>
                    <a:pt x="291" y="764"/>
                    <a:pt x="293" y="766"/>
                    <a:pt x="293" y="766"/>
                  </a:cubicBezTo>
                  <a:cubicBezTo>
                    <a:pt x="293" y="766"/>
                    <a:pt x="294" y="781"/>
                    <a:pt x="294" y="785"/>
                  </a:cubicBezTo>
                  <a:cubicBezTo>
                    <a:pt x="295" y="791"/>
                    <a:pt x="296" y="797"/>
                    <a:pt x="295" y="803"/>
                  </a:cubicBezTo>
                  <a:cubicBezTo>
                    <a:pt x="293" y="808"/>
                    <a:pt x="289" y="812"/>
                    <a:pt x="288" y="818"/>
                  </a:cubicBezTo>
                  <a:cubicBezTo>
                    <a:pt x="287" y="822"/>
                    <a:pt x="287" y="826"/>
                    <a:pt x="287" y="831"/>
                  </a:cubicBezTo>
                  <a:cubicBezTo>
                    <a:pt x="287" y="836"/>
                    <a:pt x="286" y="841"/>
                    <a:pt x="287" y="846"/>
                  </a:cubicBezTo>
                  <a:cubicBezTo>
                    <a:pt x="287" y="851"/>
                    <a:pt x="288" y="856"/>
                    <a:pt x="290" y="860"/>
                  </a:cubicBezTo>
                  <a:cubicBezTo>
                    <a:pt x="292" y="863"/>
                    <a:pt x="293" y="865"/>
                    <a:pt x="295" y="866"/>
                  </a:cubicBezTo>
                  <a:cubicBezTo>
                    <a:pt x="297" y="867"/>
                    <a:pt x="311" y="871"/>
                    <a:pt x="316" y="867"/>
                  </a:cubicBezTo>
                  <a:cubicBezTo>
                    <a:pt x="318" y="866"/>
                    <a:pt x="318" y="870"/>
                    <a:pt x="319" y="870"/>
                  </a:cubicBezTo>
                  <a:cubicBezTo>
                    <a:pt x="321" y="872"/>
                    <a:pt x="323" y="877"/>
                    <a:pt x="325" y="880"/>
                  </a:cubicBezTo>
                  <a:cubicBezTo>
                    <a:pt x="328" y="884"/>
                    <a:pt x="331" y="888"/>
                    <a:pt x="334" y="892"/>
                  </a:cubicBezTo>
                  <a:cubicBezTo>
                    <a:pt x="337" y="895"/>
                    <a:pt x="341" y="896"/>
                    <a:pt x="344" y="898"/>
                  </a:cubicBezTo>
                  <a:cubicBezTo>
                    <a:pt x="354" y="904"/>
                    <a:pt x="368" y="901"/>
                    <a:pt x="379" y="901"/>
                  </a:cubicBezTo>
                  <a:cubicBezTo>
                    <a:pt x="383" y="901"/>
                    <a:pt x="385" y="899"/>
                    <a:pt x="389" y="898"/>
                  </a:cubicBezTo>
                  <a:cubicBezTo>
                    <a:pt x="391" y="895"/>
                    <a:pt x="393" y="894"/>
                    <a:pt x="394" y="890"/>
                  </a:cubicBezTo>
                  <a:cubicBezTo>
                    <a:pt x="395" y="881"/>
                    <a:pt x="391" y="871"/>
                    <a:pt x="386" y="864"/>
                  </a:cubicBezTo>
                  <a:cubicBezTo>
                    <a:pt x="383" y="859"/>
                    <a:pt x="378" y="857"/>
                    <a:pt x="375" y="852"/>
                  </a:cubicBezTo>
                  <a:cubicBezTo>
                    <a:pt x="368" y="843"/>
                    <a:pt x="362" y="833"/>
                    <a:pt x="354" y="823"/>
                  </a:cubicBezTo>
                  <a:cubicBezTo>
                    <a:pt x="342" y="808"/>
                    <a:pt x="338" y="797"/>
                    <a:pt x="339" y="777"/>
                  </a:cubicBezTo>
                  <a:cubicBezTo>
                    <a:pt x="339" y="775"/>
                    <a:pt x="338" y="766"/>
                    <a:pt x="340" y="764"/>
                  </a:cubicBezTo>
                  <a:cubicBezTo>
                    <a:pt x="342" y="762"/>
                    <a:pt x="345" y="761"/>
                    <a:pt x="348" y="760"/>
                  </a:cubicBezTo>
                  <a:cubicBezTo>
                    <a:pt x="349" y="760"/>
                    <a:pt x="350" y="759"/>
                    <a:pt x="350" y="758"/>
                  </a:cubicBezTo>
                  <a:cubicBezTo>
                    <a:pt x="350" y="759"/>
                    <a:pt x="352" y="756"/>
                    <a:pt x="352" y="756"/>
                  </a:cubicBezTo>
                  <a:cubicBezTo>
                    <a:pt x="352" y="752"/>
                    <a:pt x="352" y="747"/>
                    <a:pt x="352" y="743"/>
                  </a:cubicBezTo>
                  <a:lnTo>
                    <a:pt x="422" y="751"/>
                  </a:lnTo>
                  <a:cubicBezTo>
                    <a:pt x="422" y="751"/>
                    <a:pt x="435" y="745"/>
                    <a:pt x="436" y="745"/>
                  </a:cubicBezTo>
                  <a:lnTo>
                    <a:pt x="436" y="724"/>
                  </a:lnTo>
                  <a:cubicBezTo>
                    <a:pt x="435" y="724"/>
                    <a:pt x="435" y="721"/>
                    <a:pt x="433" y="722"/>
                  </a:cubicBezTo>
                  <a:cubicBezTo>
                    <a:pt x="432" y="722"/>
                    <a:pt x="353" y="703"/>
                    <a:pt x="352" y="702"/>
                  </a:cubicBezTo>
                  <a:cubicBezTo>
                    <a:pt x="352" y="702"/>
                    <a:pt x="355" y="630"/>
                    <a:pt x="355" y="617"/>
                  </a:cubicBezTo>
                  <a:cubicBezTo>
                    <a:pt x="362" y="619"/>
                    <a:pt x="375" y="613"/>
                    <a:pt x="376" y="622"/>
                  </a:cubicBezTo>
                  <a:cubicBezTo>
                    <a:pt x="377" y="626"/>
                    <a:pt x="397" y="652"/>
                    <a:pt x="400" y="655"/>
                  </a:cubicBezTo>
                  <a:cubicBezTo>
                    <a:pt x="401" y="655"/>
                    <a:pt x="414" y="650"/>
                    <a:pt x="419" y="648"/>
                  </a:cubicBezTo>
                  <a:lnTo>
                    <a:pt x="421" y="650"/>
                  </a:lnTo>
                  <a:cubicBezTo>
                    <a:pt x="422" y="651"/>
                    <a:pt x="424" y="656"/>
                    <a:pt x="425" y="657"/>
                  </a:cubicBezTo>
                  <a:cubicBezTo>
                    <a:pt x="430" y="664"/>
                    <a:pt x="435" y="671"/>
                    <a:pt x="437" y="680"/>
                  </a:cubicBezTo>
                  <a:cubicBezTo>
                    <a:pt x="438" y="684"/>
                    <a:pt x="442" y="687"/>
                    <a:pt x="444" y="691"/>
                  </a:cubicBezTo>
                  <a:cubicBezTo>
                    <a:pt x="450" y="703"/>
                    <a:pt x="445" y="722"/>
                    <a:pt x="448" y="734"/>
                  </a:cubicBezTo>
                  <a:cubicBezTo>
                    <a:pt x="449" y="740"/>
                    <a:pt x="451" y="745"/>
                    <a:pt x="453" y="751"/>
                  </a:cubicBezTo>
                  <a:cubicBezTo>
                    <a:pt x="454" y="752"/>
                    <a:pt x="454" y="754"/>
                    <a:pt x="454" y="755"/>
                  </a:cubicBezTo>
                  <a:cubicBezTo>
                    <a:pt x="455" y="756"/>
                    <a:pt x="458" y="757"/>
                    <a:pt x="459" y="759"/>
                  </a:cubicBezTo>
                  <a:cubicBezTo>
                    <a:pt x="463" y="764"/>
                    <a:pt x="468" y="764"/>
                    <a:pt x="474" y="765"/>
                  </a:cubicBezTo>
                  <a:cubicBezTo>
                    <a:pt x="477" y="767"/>
                    <a:pt x="481" y="768"/>
                    <a:pt x="484" y="767"/>
                  </a:cubicBezTo>
                  <a:cubicBezTo>
                    <a:pt x="485" y="766"/>
                    <a:pt x="493" y="759"/>
                    <a:pt x="494" y="759"/>
                  </a:cubicBezTo>
                  <a:cubicBezTo>
                    <a:pt x="494" y="759"/>
                    <a:pt x="506" y="763"/>
                    <a:pt x="508" y="764"/>
                  </a:cubicBezTo>
                  <a:cubicBezTo>
                    <a:pt x="511" y="764"/>
                    <a:pt x="515" y="765"/>
                    <a:pt x="519" y="765"/>
                  </a:cubicBezTo>
                  <a:cubicBezTo>
                    <a:pt x="543" y="766"/>
                    <a:pt x="562" y="754"/>
                    <a:pt x="581" y="741"/>
                  </a:cubicBezTo>
                  <a:cubicBezTo>
                    <a:pt x="583" y="739"/>
                    <a:pt x="585" y="738"/>
                    <a:pt x="587" y="736"/>
                  </a:cubicBezTo>
                  <a:cubicBezTo>
                    <a:pt x="587" y="735"/>
                    <a:pt x="588" y="734"/>
                    <a:pt x="589" y="733"/>
                  </a:cubicBezTo>
                  <a:cubicBezTo>
                    <a:pt x="589" y="732"/>
                    <a:pt x="591" y="731"/>
                    <a:pt x="591" y="730"/>
                  </a:cubicBezTo>
                  <a:cubicBezTo>
                    <a:pt x="592" y="727"/>
                    <a:pt x="592" y="725"/>
                    <a:pt x="590" y="723"/>
                  </a:cubicBezTo>
                  <a:cubicBezTo>
                    <a:pt x="589" y="721"/>
                    <a:pt x="587" y="717"/>
                    <a:pt x="585" y="716"/>
                  </a:cubicBezTo>
                  <a:cubicBezTo>
                    <a:pt x="577" y="709"/>
                    <a:pt x="558" y="711"/>
                    <a:pt x="548" y="707"/>
                  </a:cubicBezTo>
                  <a:cubicBezTo>
                    <a:pt x="536" y="704"/>
                    <a:pt x="525" y="698"/>
                    <a:pt x="515" y="691"/>
                  </a:cubicBezTo>
                  <a:cubicBezTo>
                    <a:pt x="495" y="677"/>
                    <a:pt x="479" y="657"/>
                    <a:pt x="464" y="639"/>
                  </a:cubicBezTo>
                  <a:cubicBezTo>
                    <a:pt x="460" y="634"/>
                    <a:pt x="455" y="629"/>
                    <a:pt x="452" y="623"/>
                  </a:cubicBezTo>
                  <a:cubicBezTo>
                    <a:pt x="450" y="620"/>
                    <a:pt x="450" y="617"/>
                    <a:pt x="450" y="617"/>
                  </a:cubicBezTo>
                  <a:cubicBezTo>
                    <a:pt x="450" y="617"/>
                    <a:pt x="455" y="609"/>
                    <a:pt x="458" y="603"/>
                  </a:cubicBezTo>
                  <a:cubicBezTo>
                    <a:pt x="461" y="597"/>
                    <a:pt x="464" y="591"/>
                    <a:pt x="466" y="585"/>
                  </a:cubicBezTo>
                  <a:cubicBezTo>
                    <a:pt x="466" y="584"/>
                    <a:pt x="468" y="575"/>
                    <a:pt x="469" y="575"/>
                  </a:cubicBezTo>
                  <a:cubicBezTo>
                    <a:pt x="468" y="574"/>
                    <a:pt x="382" y="468"/>
                    <a:pt x="382" y="468"/>
                  </a:cubicBezTo>
                  <a:cubicBezTo>
                    <a:pt x="382" y="468"/>
                    <a:pt x="386" y="416"/>
                    <a:pt x="387" y="415"/>
                  </a:cubicBezTo>
                  <a:cubicBezTo>
                    <a:pt x="398" y="415"/>
                    <a:pt x="420" y="414"/>
                    <a:pt x="421" y="413"/>
                  </a:cubicBezTo>
                  <a:cubicBezTo>
                    <a:pt x="421" y="413"/>
                    <a:pt x="420" y="383"/>
                    <a:pt x="419" y="380"/>
                  </a:cubicBezTo>
                  <a:lnTo>
                    <a:pt x="370" y="380"/>
                  </a:lnTo>
                  <a:cubicBezTo>
                    <a:pt x="372" y="377"/>
                    <a:pt x="372" y="374"/>
                    <a:pt x="373" y="371"/>
                  </a:cubicBezTo>
                  <a:cubicBezTo>
                    <a:pt x="375" y="369"/>
                    <a:pt x="377" y="366"/>
                    <a:pt x="378" y="363"/>
                  </a:cubicBezTo>
                  <a:cubicBezTo>
                    <a:pt x="378" y="362"/>
                    <a:pt x="377" y="359"/>
                    <a:pt x="377" y="358"/>
                  </a:cubicBezTo>
                  <a:cubicBezTo>
                    <a:pt x="377" y="347"/>
                    <a:pt x="373" y="338"/>
                    <a:pt x="370" y="327"/>
                  </a:cubicBezTo>
                  <a:cubicBezTo>
                    <a:pt x="369" y="323"/>
                    <a:pt x="365" y="317"/>
                    <a:pt x="362" y="315"/>
                  </a:cubicBezTo>
                  <a:cubicBezTo>
                    <a:pt x="360" y="313"/>
                    <a:pt x="357" y="312"/>
                    <a:pt x="356" y="310"/>
                  </a:cubicBezTo>
                  <a:cubicBezTo>
                    <a:pt x="351" y="302"/>
                    <a:pt x="350" y="292"/>
                    <a:pt x="346" y="284"/>
                  </a:cubicBezTo>
                  <a:cubicBezTo>
                    <a:pt x="342" y="276"/>
                    <a:pt x="336" y="268"/>
                    <a:pt x="330" y="262"/>
                  </a:cubicBezTo>
                  <a:cubicBezTo>
                    <a:pt x="328" y="260"/>
                    <a:pt x="327" y="256"/>
                    <a:pt x="325" y="254"/>
                  </a:cubicBezTo>
                  <a:cubicBezTo>
                    <a:pt x="323" y="251"/>
                    <a:pt x="321" y="247"/>
                    <a:pt x="321" y="247"/>
                  </a:cubicBezTo>
                  <a:cubicBezTo>
                    <a:pt x="321" y="247"/>
                    <a:pt x="325" y="186"/>
                    <a:pt x="323" y="186"/>
                  </a:cubicBezTo>
                  <a:lnTo>
                    <a:pt x="291" y="186"/>
                  </a:lnTo>
                  <a:lnTo>
                    <a:pt x="286" y="181"/>
                  </a:lnTo>
                  <a:cubicBezTo>
                    <a:pt x="286" y="180"/>
                    <a:pt x="283" y="179"/>
                    <a:pt x="282" y="178"/>
                  </a:cubicBezTo>
                  <a:cubicBezTo>
                    <a:pt x="280" y="177"/>
                    <a:pt x="279" y="177"/>
                    <a:pt x="277" y="176"/>
                  </a:cubicBezTo>
                  <a:cubicBezTo>
                    <a:pt x="257" y="172"/>
                    <a:pt x="237" y="168"/>
                    <a:pt x="217" y="164"/>
                  </a:cubicBezTo>
                  <a:cubicBezTo>
                    <a:pt x="216" y="164"/>
                    <a:pt x="210" y="161"/>
                    <a:pt x="211" y="159"/>
                  </a:cubicBezTo>
                  <a:cubicBezTo>
                    <a:pt x="211" y="157"/>
                    <a:pt x="210" y="155"/>
                    <a:pt x="211" y="153"/>
                  </a:cubicBezTo>
                  <a:cubicBezTo>
                    <a:pt x="211" y="153"/>
                    <a:pt x="212" y="150"/>
                    <a:pt x="212" y="149"/>
                  </a:cubicBezTo>
                  <a:cubicBezTo>
                    <a:pt x="213" y="148"/>
                    <a:pt x="214" y="146"/>
                    <a:pt x="214" y="145"/>
                  </a:cubicBezTo>
                  <a:cubicBezTo>
                    <a:pt x="215" y="143"/>
                    <a:pt x="216" y="142"/>
                    <a:pt x="218" y="140"/>
                  </a:cubicBezTo>
                  <a:cubicBezTo>
                    <a:pt x="219" y="138"/>
                    <a:pt x="220" y="137"/>
                    <a:pt x="221" y="135"/>
                  </a:cubicBezTo>
                  <a:cubicBezTo>
                    <a:pt x="223" y="133"/>
                    <a:pt x="223" y="131"/>
                    <a:pt x="224" y="129"/>
                  </a:cubicBezTo>
                  <a:cubicBezTo>
                    <a:pt x="228" y="123"/>
                    <a:pt x="231" y="116"/>
                    <a:pt x="232" y="109"/>
                  </a:cubicBezTo>
                  <a:cubicBezTo>
                    <a:pt x="232" y="107"/>
                    <a:pt x="232" y="106"/>
                    <a:pt x="232" y="104"/>
                  </a:cubicBezTo>
                  <a:cubicBezTo>
                    <a:pt x="232" y="102"/>
                    <a:pt x="232" y="100"/>
                    <a:pt x="232" y="98"/>
                  </a:cubicBezTo>
                  <a:cubicBezTo>
                    <a:pt x="232" y="96"/>
                    <a:pt x="238" y="96"/>
                    <a:pt x="239" y="95"/>
                  </a:cubicBezTo>
                  <a:cubicBezTo>
                    <a:pt x="240" y="92"/>
                    <a:pt x="239" y="88"/>
                    <a:pt x="239" y="85"/>
                  </a:cubicBezTo>
                  <a:cubicBezTo>
                    <a:pt x="239" y="82"/>
                    <a:pt x="239" y="79"/>
                    <a:pt x="238" y="76"/>
                  </a:cubicBezTo>
                  <a:cubicBezTo>
                    <a:pt x="237" y="75"/>
                    <a:pt x="237" y="73"/>
                    <a:pt x="235" y="74"/>
                  </a:cubicBezTo>
                  <a:cubicBezTo>
                    <a:pt x="230" y="64"/>
                    <a:pt x="240" y="63"/>
                    <a:pt x="242" y="57"/>
                  </a:cubicBezTo>
                  <a:cubicBezTo>
                    <a:pt x="242" y="55"/>
                    <a:pt x="244" y="55"/>
                    <a:pt x="244" y="52"/>
                  </a:cubicBezTo>
                  <a:cubicBezTo>
                    <a:pt x="245" y="51"/>
                    <a:pt x="244" y="48"/>
                    <a:pt x="244" y="46"/>
                  </a:cubicBezTo>
                  <a:cubicBezTo>
                    <a:pt x="244" y="43"/>
                    <a:pt x="244" y="39"/>
                    <a:pt x="244" y="36"/>
                  </a:cubicBezTo>
                  <a:cubicBezTo>
                    <a:pt x="244" y="34"/>
                    <a:pt x="243" y="32"/>
                    <a:pt x="242" y="31"/>
                  </a:cubicBezTo>
                  <a:cubicBezTo>
                    <a:pt x="240" y="28"/>
                    <a:pt x="233" y="23"/>
                    <a:pt x="234" y="18"/>
                  </a:cubicBezTo>
                  <a:cubicBezTo>
                    <a:pt x="232" y="18"/>
                    <a:pt x="232" y="17"/>
                    <a:pt x="231" y="16"/>
                  </a:cubicBezTo>
                  <a:cubicBezTo>
                    <a:pt x="231" y="15"/>
                    <a:pt x="228" y="13"/>
                    <a:pt x="228" y="13"/>
                  </a:cubicBezTo>
                  <a:cubicBezTo>
                    <a:pt x="227" y="10"/>
                    <a:pt x="220" y="11"/>
                    <a:pt x="218" y="11"/>
                  </a:cubicBezTo>
                  <a:cubicBezTo>
                    <a:pt x="214" y="9"/>
                    <a:pt x="212" y="6"/>
                    <a:pt x="209" y="4"/>
                  </a:cubicBezTo>
                  <a:cubicBezTo>
                    <a:pt x="207" y="3"/>
                    <a:pt x="205" y="1"/>
                    <a:pt x="203" y="1"/>
                  </a:cubicBezTo>
                  <a:cubicBezTo>
                    <a:pt x="203" y="1"/>
                    <a:pt x="202" y="1"/>
                    <a:pt x="202" y="0"/>
                  </a:cubicBezTo>
                  <a:lnTo>
                    <a:pt x="183" y="0"/>
                  </a:lnTo>
                  <a:cubicBezTo>
                    <a:pt x="178" y="2"/>
                    <a:pt x="172" y="4"/>
                    <a:pt x="167" y="6"/>
                  </a:cubicBezTo>
                  <a:cubicBezTo>
                    <a:pt x="165" y="7"/>
                    <a:pt x="164" y="9"/>
                    <a:pt x="163" y="11"/>
                  </a:cubicBezTo>
                  <a:close/>
                  <a:moveTo>
                    <a:pt x="227" y="645"/>
                  </a:moveTo>
                  <a:cubicBezTo>
                    <a:pt x="233" y="645"/>
                    <a:pt x="253" y="645"/>
                    <a:pt x="253" y="645"/>
                  </a:cubicBezTo>
                  <a:lnTo>
                    <a:pt x="258" y="620"/>
                  </a:lnTo>
                  <a:lnTo>
                    <a:pt x="269" y="619"/>
                  </a:lnTo>
                  <a:lnTo>
                    <a:pt x="272" y="665"/>
                  </a:lnTo>
                  <a:lnTo>
                    <a:pt x="237" y="678"/>
                  </a:lnTo>
                  <a:lnTo>
                    <a:pt x="235" y="661"/>
                  </a:lnTo>
                  <a:lnTo>
                    <a:pt x="227" y="661"/>
                  </a:lnTo>
                  <a:lnTo>
                    <a:pt x="227" y="645"/>
                  </a:lnTo>
                  <a:close/>
                  <a:moveTo>
                    <a:pt x="234" y="80"/>
                  </a:moveTo>
                  <a:lnTo>
                    <a:pt x="234" y="90"/>
                  </a:lnTo>
                  <a:lnTo>
                    <a:pt x="231" y="90"/>
                  </a:lnTo>
                  <a:lnTo>
                    <a:pt x="231" y="83"/>
                  </a:lnTo>
                  <a:cubicBezTo>
                    <a:pt x="231" y="80"/>
                    <a:pt x="230" y="79"/>
                    <a:pt x="234" y="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9069388" y="4899025"/>
              <a:ext cx="766763" cy="330200"/>
            </a:xfrm>
            <a:custGeom>
              <a:avLst/>
              <a:gdLst>
                <a:gd name="T0" fmla="*/ 1136 w 2101"/>
                <a:gd name="T1" fmla="*/ 435 h 902"/>
                <a:gd name="T2" fmla="*/ 878 w 2101"/>
                <a:gd name="T3" fmla="*/ 735 h 902"/>
                <a:gd name="T4" fmla="*/ 1348 w 2101"/>
                <a:gd name="T5" fmla="*/ 426 h 902"/>
                <a:gd name="T6" fmla="*/ 1907 w 2101"/>
                <a:gd name="T7" fmla="*/ 736 h 902"/>
                <a:gd name="T8" fmla="*/ 1628 w 2101"/>
                <a:gd name="T9" fmla="*/ 522 h 902"/>
                <a:gd name="T10" fmla="*/ 204 w 2101"/>
                <a:gd name="T11" fmla="*/ 738 h 902"/>
                <a:gd name="T12" fmla="*/ 351 w 2101"/>
                <a:gd name="T13" fmla="*/ 549 h 902"/>
                <a:gd name="T14" fmla="*/ 801 w 2101"/>
                <a:gd name="T15" fmla="*/ 735 h 902"/>
                <a:gd name="T16" fmla="*/ 0 w 2101"/>
                <a:gd name="T17" fmla="*/ 278 h 902"/>
                <a:gd name="T18" fmla="*/ 337 w 2101"/>
                <a:gd name="T19" fmla="*/ 607 h 902"/>
                <a:gd name="T20" fmla="*/ 1348 w 2101"/>
                <a:gd name="T21" fmla="*/ 686 h 902"/>
                <a:gd name="T22" fmla="*/ 1334 w 2101"/>
                <a:gd name="T23" fmla="*/ 157 h 902"/>
                <a:gd name="T24" fmla="*/ 1383 w 2101"/>
                <a:gd name="T25" fmla="*/ 79 h 902"/>
                <a:gd name="T26" fmla="*/ 1128 w 2101"/>
                <a:gd name="T27" fmla="*/ 101 h 902"/>
                <a:gd name="T28" fmla="*/ 1128 w 2101"/>
                <a:gd name="T29" fmla="*/ 101 h 902"/>
                <a:gd name="T30" fmla="*/ 1116 w 2101"/>
                <a:gd name="T31" fmla="*/ 56 h 902"/>
                <a:gd name="T32" fmla="*/ 1253 w 2101"/>
                <a:gd name="T33" fmla="*/ 80 h 902"/>
                <a:gd name="T34" fmla="*/ 1225 w 2101"/>
                <a:gd name="T35" fmla="*/ 180 h 902"/>
                <a:gd name="T36" fmla="*/ 984 w 2101"/>
                <a:gd name="T37" fmla="*/ 157 h 902"/>
                <a:gd name="T38" fmla="*/ 1064 w 2101"/>
                <a:gd name="T39" fmla="*/ 212 h 902"/>
                <a:gd name="T40" fmla="*/ 967 w 2101"/>
                <a:gd name="T41" fmla="*/ 131 h 902"/>
                <a:gd name="T42" fmla="*/ 505 w 2101"/>
                <a:gd name="T43" fmla="*/ 181 h 902"/>
                <a:gd name="T44" fmla="*/ 492 w 2101"/>
                <a:gd name="T45" fmla="*/ 112 h 902"/>
                <a:gd name="T46" fmla="*/ 497 w 2101"/>
                <a:gd name="T47" fmla="*/ 32 h 902"/>
                <a:gd name="T48" fmla="*/ 547 w 2101"/>
                <a:gd name="T49" fmla="*/ 12 h 902"/>
                <a:gd name="T50" fmla="*/ 563 w 2101"/>
                <a:gd name="T51" fmla="*/ 112 h 902"/>
                <a:gd name="T52" fmla="*/ 563 w 2101"/>
                <a:gd name="T53" fmla="*/ 225 h 902"/>
                <a:gd name="T54" fmla="*/ 492 w 2101"/>
                <a:gd name="T55" fmla="*/ 201 h 902"/>
                <a:gd name="T56" fmla="*/ 614 w 2101"/>
                <a:gd name="T57" fmla="*/ 194 h 902"/>
                <a:gd name="T58" fmla="*/ 622 w 2101"/>
                <a:gd name="T59" fmla="*/ 176 h 902"/>
                <a:gd name="T60" fmla="*/ 573 w 2101"/>
                <a:gd name="T61" fmla="*/ 112 h 902"/>
                <a:gd name="T62" fmla="*/ 573 w 2101"/>
                <a:gd name="T63" fmla="*/ 54 h 902"/>
                <a:gd name="T64" fmla="*/ 643 w 2101"/>
                <a:gd name="T65" fmla="*/ 33 h 902"/>
                <a:gd name="T66" fmla="*/ 655 w 2101"/>
                <a:gd name="T67" fmla="*/ 192 h 902"/>
                <a:gd name="T68" fmla="*/ 628 w 2101"/>
                <a:gd name="T69" fmla="*/ 190 h 902"/>
                <a:gd name="T70" fmla="*/ 573 w 2101"/>
                <a:gd name="T71" fmla="*/ 236 h 902"/>
                <a:gd name="T72" fmla="*/ 797 w 2101"/>
                <a:gd name="T73" fmla="*/ 91 h 902"/>
                <a:gd name="T74" fmla="*/ 792 w 2101"/>
                <a:gd name="T75" fmla="*/ 56 h 902"/>
                <a:gd name="T76" fmla="*/ 719 w 2101"/>
                <a:gd name="T77" fmla="*/ 56 h 902"/>
                <a:gd name="T78" fmla="*/ 843 w 2101"/>
                <a:gd name="T79" fmla="*/ 174 h 902"/>
                <a:gd name="T80" fmla="*/ 884 w 2101"/>
                <a:gd name="T81" fmla="*/ 54 h 902"/>
                <a:gd name="T82" fmla="*/ 864 w 2101"/>
                <a:gd name="T83" fmla="*/ 106 h 902"/>
                <a:gd name="T84" fmla="*/ 1910 w 2101"/>
                <a:gd name="T85" fmla="*/ 125 h 902"/>
                <a:gd name="T86" fmla="*/ 1912 w 2101"/>
                <a:gd name="T87" fmla="*/ 76 h 902"/>
                <a:gd name="T88" fmla="*/ 1965 w 2101"/>
                <a:gd name="T89" fmla="*/ 144 h 902"/>
                <a:gd name="T90" fmla="*/ 1873 w 2101"/>
                <a:gd name="T91" fmla="*/ 58 h 902"/>
                <a:gd name="T92" fmla="*/ 1819 w 2101"/>
                <a:gd name="T93" fmla="*/ 80 h 902"/>
                <a:gd name="T94" fmla="*/ 1791 w 2101"/>
                <a:gd name="T95" fmla="*/ 180 h 902"/>
                <a:gd name="T96" fmla="*/ 2040 w 2101"/>
                <a:gd name="T97" fmla="*/ 182 h 902"/>
                <a:gd name="T98" fmla="*/ 1573 w 2101"/>
                <a:gd name="T99" fmla="*/ 120 h 902"/>
                <a:gd name="T100" fmla="*/ 1627 w 2101"/>
                <a:gd name="T101" fmla="*/ 139 h 902"/>
                <a:gd name="T102" fmla="*/ 1565 w 2101"/>
                <a:gd name="T103" fmla="*/ 181 h 902"/>
                <a:gd name="T104" fmla="*/ 1673 w 2101"/>
                <a:gd name="T105" fmla="*/ 118 h 902"/>
                <a:gd name="T106" fmla="*/ 1709 w 2101"/>
                <a:gd name="T107" fmla="*/ 182 h 902"/>
                <a:gd name="T108" fmla="*/ 1506 w 2101"/>
                <a:gd name="T109" fmla="*/ 180 h 902"/>
                <a:gd name="T110" fmla="*/ 1402 w 2101"/>
                <a:gd name="T111" fmla="*/ 18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01" h="902">
                  <a:moveTo>
                    <a:pt x="878" y="435"/>
                  </a:moveTo>
                  <a:lnTo>
                    <a:pt x="951" y="435"/>
                  </a:lnTo>
                  <a:lnTo>
                    <a:pt x="951" y="548"/>
                  </a:lnTo>
                  <a:lnTo>
                    <a:pt x="1063" y="548"/>
                  </a:lnTo>
                  <a:lnTo>
                    <a:pt x="1063" y="435"/>
                  </a:lnTo>
                  <a:lnTo>
                    <a:pt x="1136" y="435"/>
                  </a:lnTo>
                  <a:lnTo>
                    <a:pt x="1136" y="735"/>
                  </a:lnTo>
                  <a:lnTo>
                    <a:pt x="1063" y="735"/>
                  </a:lnTo>
                  <a:lnTo>
                    <a:pt x="1063" y="606"/>
                  </a:lnTo>
                  <a:lnTo>
                    <a:pt x="951" y="606"/>
                  </a:lnTo>
                  <a:lnTo>
                    <a:pt x="951" y="735"/>
                  </a:lnTo>
                  <a:lnTo>
                    <a:pt x="878" y="735"/>
                  </a:lnTo>
                  <a:lnTo>
                    <a:pt x="878" y="435"/>
                  </a:lnTo>
                  <a:close/>
                  <a:moveTo>
                    <a:pt x="1348" y="426"/>
                  </a:moveTo>
                  <a:cubicBezTo>
                    <a:pt x="1454" y="426"/>
                    <a:pt x="1504" y="494"/>
                    <a:pt x="1504" y="585"/>
                  </a:cubicBezTo>
                  <a:cubicBezTo>
                    <a:pt x="1504" y="676"/>
                    <a:pt x="1454" y="744"/>
                    <a:pt x="1348" y="744"/>
                  </a:cubicBezTo>
                  <a:cubicBezTo>
                    <a:pt x="1226" y="744"/>
                    <a:pt x="1191" y="655"/>
                    <a:pt x="1191" y="585"/>
                  </a:cubicBezTo>
                  <a:cubicBezTo>
                    <a:pt x="1191" y="515"/>
                    <a:pt x="1226" y="426"/>
                    <a:pt x="1348" y="426"/>
                  </a:cubicBezTo>
                  <a:close/>
                  <a:moveTo>
                    <a:pt x="1554" y="436"/>
                  </a:moveTo>
                  <a:lnTo>
                    <a:pt x="1657" y="436"/>
                  </a:lnTo>
                  <a:lnTo>
                    <a:pt x="1731" y="642"/>
                  </a:lnTo>
                  <a:lnTo>
                    <a:pt x="1804" y="436"/>
                  </a:lnTo>
                  <a:lnTo>
                    <a:pt x="1907" y="436"/>
                  </a:lnTo>
                  <a:lnTo>
                    <a:pt x="1907" y="736"/>
                  </a:lnTo>
                  <a:lnTo>
                    <a:pt x="1834" y="736"/>
                  </a:lnTo>
                  <a:lnTo>
                    <a:pt x="1834" y="522"/>
                  </a:lnTo>
                  <a:lnTo>
                    <a:pt x="1833" y="522"/>
                  </a:lnTo>
                  <a:lnTo>
                    <a:pt x="1756" y="736"/>
                  </a:lnTo>
                  <a:lnTo>
                    <a:pt x="1706" y="736"/>
                  </a:lnTo>
                  <a:lnTo>
                    <a:pt x="1628" y="522"/>
                  </a:lnTo>
                  <a:lnTo>
                    <a:pt x="1627" y="522"/>
                  </a:lnTo>
                  <a:lnTo>
                    <a:pt x="1627" y="736"/>
                  </a:lnTo>
                  <a:lnTo>
                    <a:pt x="1554" y="736"/>
                  </a:lnTo>
                  <a:lnTo>
                    <a:pt x="1554" y="436"/>
                  </a:lnTo>
                  <a:close/>
                  <a:moveTo>
                    <a:pt x="351" y="738"/>
                  </a:moveTo>
                  <a:lnTo>
                    <a:pt x="204" y="738"/>
                  </a:lnTo>
                  <a:lnTo>
                    <a:pt x="204" y="437"/>
                  </a:lnTo>
                  <a:lnTo>
                    <a:pt x="444" y="437"/>
                  </a:lnTo>
                  <a:lnTo>
                    <a:pt x="444" y="496"/>
                  </a:lnTo>
                  <a:lnTo>
                    <a:pt x="277" y="496"/>
                  </a:lnTo>
                  <a:lnTo>
                    <a:pt x="277" y="549"/>
                  </a:lnTo>
                  <a:lnTo>
                    <a:pt x="351" y="549"/>
                  </a:lnTo>
                  <a:cubicBezTo>
                    <a:pt x="377" y="549"/>
                    <a:pt x="469" y="551"/>
                    <a:pt x="469" y="647"/>
                  </a:cubicBezTo>
                  <a:cubicBezTo>
                    <a:pt x="469" y="708"/>
                    <a:pt x="423" y="738"/>
                    <a:pt x="351" y="738"/>
                  </a:cubicBezTo>
                  <a:close/>
                  <a:moveTo>
                    <a:pt x="605" y="628"/>
                  </a:moveTo>
                  <a:lnTo>
                    <a:pt x="728" y="434"/>
                  </a:lnTo>
                  <a:lnTo>
                    <a:pt x="801" y="434"/>
                  </a:lnTo>
                  <a:lnTo>
                    <a:pt x="801" y="735"/>
                  </a:lnTo>
                  <a:lnTo>
                    <a:pt x="728" y="735"/>
                  </a:lnTo>
                  <a:lnTo>
                    <a:pt x="728" y="538"/>
                  </a:lnTo>
                  <a:lnTo>
                    <a:pt x="605" y="735"/>
                  </a:lnTo>
                  <a:lnTo>
                    <a:pt x="532" y="735"/>
                  </a:lnTo>
                  <a:lnTo>
                    <a:pt x="532" y="278"/>
                  </a:lnTo>
                  <a:lnTo>
                    <a:pt x="0" y="278"/>
                  </a:lnTo>
                  <a:lnTo>
                    <a:pt x="0" y="902"/>
                  </a:lnTo>
                  <a:lnTo>
                    <a:pt x="2098" y="902"/>
                  </a:lnTo>
                  <a:lnTo>
                    <a:pt x="2098" y="278"/>
                  </a:lnTo>
                  <a:lnTo>
                    <a:pt x="605" y="278"/>
                  </a:lnTo>
                  <a:lnTo>
                    <a:pt x="605" y="628"/>
                  </a:lnTo>
                  <a:close/>
                  <a:moveTo>
                    <a:pt x="337" y="607"/>
                  </a:moveTo>
                  <a:lnTo>
                    <a:pt x="277" y="607"/>
                  </a:lnTo>
                  <a:lnTo>
                    <a:pt x="277" y="679"/>
                  </a:lnTo>
                  <a:lnTo>
                    <a:pt x="336" y="679"/>
                  </a:lnTo>
                  <a:cubicBezTo>
                    <a:pt x="364" y="679"/>
                    <a:pt x="390" y="674"/>
                    <a:pt x="390" y="645"/>
                  </a:cubicBezTo>
                  <a:cubicBezTo>
                    <a:pt x="390" y="609"/>
                    <a:pt x="355" y="607"/>
                    <a:pt x="337" y="607"/>
                  </a:cubicBezTo>
                  <a:close/>
                  <a:moveTo>
                    <a:pt x="1348" y="686"/>
                  </a:moveTo>
                  <a:cubicBezTo>
                    <a:pt x="1422" y="686"/>
                    <a:pt x="1426" y="610"/>
                    <a:pt x="1426" y="585"/>
                  </a:cubicBezTo>
                  <a:cubicBezTo>
                    <a:pt x="1426" y="558"/>
                    <a:pt x="1422" y="485"/>
                    <a:pt x="1348" y="485"/>
                  </a:cubicBezTo>
                  <a:cubicBezTo>
                    <a:pt x="1308" y="485"/>
                    <a:pt x="1271" y="506"/>
                    <a:pt x="1271" y="585"/>
                  </a:cubicBezTo>
                  <a:cubicBezTo>
                    <a:pt x="1271" y="664"/>
                    <a:pt x="1308" y="686"/>
                    <a:pt x="1348" y="686"/>
                  </a:cubicBezTo>
                  <a:close/>
                  <a:moveTo>
                    <a:pt x="1385" y="157"/>
                  </a:moveTo>
                  <a:lnTo>
                    <a:pt x="1334" y="157"/>
                  </a:lnTo>
                  <a:lnTo>
                    <a:pt x="1334" y="128"/>
                  </a:lnTo>
                  <a:lnTo>
                    <a:pt x="1380" y="128"/>
                  </a:lnTo>
                  <a:lnTo>
                    <a:pt x="1380" y="105"/>
                  </a:lnTo>
                  <a:lnTo>
                    <a:pt x="1334" y="105"/>
                  </a:lnTo>
                  <a:lnTo>
                    <a:pt x="1334" y="79"/>
                  </a:lnTo>
                  <a:lnTo>
                    <a:pt x="1383" y="79"/>
                  </a:lnTo>
                  <a:lnTo>
                    <a:pt x="1383" y="56"/>
                  </a:lnTo>
                  <a:lnTo>
                    <a:pt x="1306" y="56"/>
                  </a:lnTo>
                  <a:lnTo>
                    <a:pt x="1306" y="180"/>
                  </a:lnTo>
                  <a:lnTo>
                    <a:pt x="1385" y="180"/>
                  </a:lnTo>
                  <a:lnTo>
                    <a:pt x="1385" y="157"/>
                  </a:lnTo>
                  <a:close/>
                  <a:moveTo>
                    <a:pt x="1128" y="101"/>
                  </a:moveTo>
                  <a:cubicBezTo>
                    <a:pt x="1130" y="94"/>
                    <a:pt x="1132" y="85"/>
                    <a:pt x="1133" y="77"/>
                  </a:cubicBezTo>
                  <a:lnTo>
                    <a:pt x="1134" y="77"/>
                  </a:lnTo>
                  <a:cubicBezTo>
                    <a:pt x="1136" y="85"/>
                    <a:pt x="1138" y="94"/>
                    <a:pt x="1140" y="101"/>
                  </a:cubicBezTo>
                  <a:lnTo>
                    <a:pt x="1148" y="127"/>
                  </a:lnTo>
                  <a:lnTo>
                    <a:pt x="1120" y="127"/>
                  </a:lnTo>
                  <a:lnTo>
                    <a:pt x="1128" y="101"/>
                  </a:lnTo>
                  <a:close/>
                  <a:moveTo>
                    <a:pt x="1116" y="148"/>
                  </a:moveTo>
                  <a:lnTo>
                    <a:pt x="1152" y="148"/>
                  </a:lnTo>
                  <a:lnTo>
                    <a:pt x="1161" y="180"/>
                  </a:lnTo>
                  <a:lnTo>
                    <a:pt x="1192" y="180"/>
                  </a:lnTo>
                  <a:lnTo>
                    <a:pt x="1153" y="56"/>
                  </a:lnTo>
                  <a:lnTo>
                    <a:pt x="1116" y="56"/>
                  </a:lnTo>
                  <a:lnTo>
                    <a:pt x="1079" y="180"/>
                  </a:lnTo>
                  <a:lnTo>
                    <a:pt x="1108" y="180"/>
                  </a:lnTo>
                  <a:lnTo>
                    <a:pt x="1116" y="148"/>
                  </a:lnTo>
                  <a:close/>
                  <a:moveTo>
                    <a:pt x="1225" y="180"/>
                  </a:moveTo>
                  <a:lnTo>
                    <a:pt x="1253" y="180"/>
                  </a:lnTo>
                  <a:lnTo>
                    <a:pt x="1253" y="80"/>
                  </a:lnTo>
                  <a:lnTo>
                    <a:pt x="1287" y="80"/>
                  </a:lnTo>
                  <a:lnTo>
                    <a:pt x="1287" y="56"/>
                  </a:lnTo>
                  <a:lnTo>
                    <a:pt x="1191" y="56"/>
                  </a:lnTo>
                  <a:lnTo>
                    <a:pt x="1191" y="80"/>
                  </a:lnTo>
                  <a:lnTo>
                    <a:pt x="1225" y="80"/>
                  </a:lnTo>
                  <a:lnTo>
                    <a:pt x="1225" y="180"/>
                  </a:lnTo>
                  <a:close/>
                  <a:moveTo>
                    <a:pt x="993" y="136"/>
                  </a:moveTo>
                  <a:cubicBezTo>
                    <a:pt x="996" y="124"/>
                    <a:pt x="998" y="110"/>
                    <a:pt x="998" y="96"/>
                  </a:cubicBezTo>
                  <a:lnTo>
                    <a:pt x="998" y="79"/>
                  </a:lnTo>
                  <a:lnTo>
                    <a:pt x="1025" y="79"/>
                  </a:lnTo>
                  <a:lnTo>
                    <a:pt x="1025" y="157"/>
                  </a:lnTo>
                  <a:lnTo>
                    <a:pt x="984" y="157"/>
                  </a:lnTo>
                  <a:cubicBezTo>
                    <a:pt x="987" y="151"/>
                    <a:pt x="990" y="144"/>
                    <a:pt x="993" y="136"/>
                  </a:cubicBezTo>
                  <a:close/>
                  <a:moveTo>
                    <a:pt x="968" y="212"/>
                  </a:moveTo>
                  <a:lnTo>
                    <a:pt x="969" y="180"/>
                  </a:lnTo>
                  <a:lnTo>
                    <a:pt x="1041" y="180"/>
                  </a:lnTo>
                  <a:lnTo>
                    <a:pt x="1043" y="212"/>
                  </a:lnTo>
                  <a:lnTo>
                    <a:pt x="1064" y="212"/>
                  </a:lnTo>
                  <a:lnTo>
                    <a:pt x="1066" y="159"/>
                  </a:lnTo>
                  <a:lnTo>
                    <a:pt x="1053" y="158"/>
                  </a:lnTo>
                  <a:lnTo>
                    <a:pt x="1053" y="56"/>
                  </a:lnTo>
                  <a:lnTo>
                    <a:pt x="972" y="56"/>
                  </a:lnTo>
                  <a:lnTo>
                    <a:pt x="972" y="89"/>
                  </a:lnTo>
                  <a:cubicBezTo>
                    <a:pt x="972" y="104"/>
                    <a:pt x="971" y="118"/>
                    <a:pt x="967" y="131"/>
                  </a:cubicBezTo>
                  <a:cubicBezTo>
                    <a:pt x="964" y="140"/>
                    <a:pt x="960" y="149"/>
                    <a:pt x="955" y="158"/>
                  </a:cubicBezTo>
                  <a:lnTo>
                    <a:pt x="945" y="159"/>
                  </a:lnTo>
                  <a:lnTo>
                    <a:pt x="946" y="212"/>
                  </a:lnTo>
                  <a:lnTo>
                    <a:pt x="968" y="212"/>
                  </a:lnTo>
                  <a:close/>
                  <a:moveTo>
                    <a:pt x="492" y="122"/>
                  </a:moveTo>
                  <a:cubicBezTo>
                    <a:pt x="493" y="144"/>
                    <a:pt x="498" y="164"/>
                    <a:pt x="505" y="181"/>
                  </a:cubicBezTo>
                  <a:cubicBezTo>
                    <a:pt x="495" y="186"/>
                    <a:pt x="488" y="191"/>
                    <a:pt x="484" y="193"/>
                  </a:cubicBezTo>
                  <a:cubicBezTo>
                    <a:pt x="464" y="175"/>
                    <a:pt x="451" y="150"/>
                    <a:pt x="450" y="122"/>
                  </a:cubicBezTo>
                  <a:lnTo>
                    <a:pt x="492" y="122"/>
                  </a:lnTo>
                  <a:close/>
                  <a:moveTo>
                    <a:pt x="488" y="39"/>
                  </a:moveTo>
                  <a:cubicBezTo>
                    <a:pt x="493" y="42"/>
                    <a:pt x="500" y="46"/>
                    <a:pt x="508" y="50"/>
                  </a:cubicBezTo>
                  <a:cubicBezTo>
                    <a:pt x="500" y="67"/>
                    <a:pt x="493" y="88"/>
                    <a:pt x="492" y="112"/>
                  </a:cubicBezTo>
                  <a:lnTo>
                    <a:pt x="450" y="112"/>
                  </a:lnTo>
                  <a:cubicBezTo>
                    <a:pt x="452" y="83"/>
                    <a:pt x="466" y="57"/>
                    <a:pt x="488" y="39"/>
                  </a:cubicBezTo>
                  <a:close/>
                  <a:moveTo>
                    <a:pt x="529" y="16"/>
                  </a:moveTo>
                  <a:cubicBezTo>
                    <a:pt x="524" y="22"/>
                    <a:pt x="519" y="31"/>
                    <a:pt x="513" y="41"/>
                  </a:cubicBezTo>
                  <a:cubicBezTo>
                    <a:pt x="512" y="40"/>
                    <a:pt x="511" y="40"/>
                    <a:pt x="511" y="40"/>
                  </a:cubicBezTo>
                  <a:cubicBezTo>
                    <a:pt x="505" y="37"/>
                    <a:pt x="501" y="34"/>
                    <a:pt x="497" y="32"/>
                  </a:cubicBezTo>
                  <a:cubicBezTo>
                    <a:pt x="507" y="25"/>
                    <a:pt x="518" y="20"/>
                    <a:pt x="529" y="16"/>
                  </a:cubicBezTo>
                  <a:close/>
                  <a:moveTo>
                    <a:pt x="563" y="10"/>
                  </a:moveTo>
                  <a:lnTo>
                    <a:pt x="563" y="53"/>
                  </a:lnTo>
                  <a:cubicBezTo>
                    <a:pt x="548" y="53"/>
                    <a:pt x="534" y="49"/>
                    <a:pt x="523" y="45"/>
                  </a:cubicBezTo>
                  <a:cubicBezTo>
                    <a:pt x="524" y="43"/>
                    <a:pt x="525" y="42"/>
                    <a:pt x="526" y="40"/>
                  </a:cubicBezTo>
                  <a:cubicBezTo>
                    <a:pt x="535" y="25"/>
                    <a:pt x="545" y="15"/>
                    <a:pt x="547" y="12"/>
                  </a:cubicBezTo>
                  <a:cubicBezTo>
                    <a:pt x="553" y="11"/>
                    <a:pt x="558" y="10"/>
                    <a:pt x="563" y="10"/>
                  </a:cubicBezTo>
                  <a:close/>
                  <a:moveTo>
                    <a:pt x="563" y="112"/>
                  </a:moveTo>
                  <a:lnTo>
                    <a:pt x="503" y="112"/>
                  </a:lnTo>
                  <a:cubicBezTo>
                    <a:pt x="504" y="90"/>
                    <a:pt x="510" y="71"/>
                    <a:pt x="518" y="55"/>
                  </a:cubicBezTo>
                  <a:cubicBezTo>
                    <a:pt x="530" y="60"/>
                    <a:pt x="546" y="63"/>
                    <a:pt x="563" y="64"/>
                  </a:cubicBezTo>
                  <a:lnTo>
                    <a:pt x="563" y="112"/>
                  </a:lnTo>
                  <a:close/>
                  <a:moveTo>
                    <a:pt x="563" y="166"/>
                  </a:moveTo>
                  <a:cubicBezTo>
                    <a:pt x="544" y="166"/>
                    <a:pt x="528" y="171"/>
                    <a:pt x="515" y="176"/>
                  </a:cubicBezTo>
                  <a:cubicBezTo>
                    <a:pt x="509" y="161"/>
                    <a:pt x="504" y="143"/>
                    <a:pt x="503" y="122"/>
                  </a:cubicBezTo>
                  <a:lnTo>
                    <a:pt x="563" y="122"/>
                  </a:lnTo>
                  <a:lnTo>
                    <a:pt x="563" y="166"/>
                  </a:lnTo>
                  <a:close/>
                  <a:moveTo>
                    <a:pt x="563" y="225"/>
                  </a:moveTo>
                  <a:cubicBezTo>
                    <a:pt x="556" y="225"/>
                    <a:pt x="549" y="224"/>
                    <a:pt x="542" y="223"/>
                  </a:cubicBezTo>
                  <a:cubicBezTo>
                    <a:pt x="539" y="219"/>
                    <a:pt x="531" y="209"/>
                    <a:pt x="523" y="194"/>
                  </a:cubicBezTo>
                  <a:cubicBezTo>
                    <a:pt x="522" y="192"/>
                    <a:pt x="520" y="189"/>
                    <a:pt x="519" y="186"/>
                  </a:cubicBezTo>
                  <a:cubicBezTo>
                    <a:pt x="531" y="181"/>
                    <a:pt x="546" y="177"/>
                    <a:pt x="563" y="176"/>
                  </a:cubicBezTo>
                  <a:lnTo>
                    <a:pt x="563" y="225"/>
                  </a:lnTo>
                  <a:close/>
                  <a:moveTo>
                    <a:pt x="492" y="201"/>
                  </a:moveTo>
                  <a:cubicBezTo>
                    <a:pt x="496" y="198"/>
                    <a:pt x="502" y="194"/>
                    <a:pt x="509" y="191"/>
                  </a:cubicBezTo>
                  <a:cubicBezTo>
                    <a:pt x="515" y="202"/>
                    <a:pt x="520" y="211"/>
                    <a:pt x="525" y="218"/>
                  </a:cubicBezTo>
                  <a:cubicBezTo>
                    <a:pt x="513" y="214"/>
                    <a:pt x="502" y="208"/>
                    <a:pt x="492" y="201"/>
                  </a:cubicBezTo>
                  <a:close/>
                  <a:moveTo>
                    <a:pt x="573" y="176"/>
                  </a:moveTo>
                  <a:cubicBezTo>
                    <a:pt x="591" y="177"/>
                    <a:pt x="606" y="181"/>
                    <a:pt x="618" y="186"/>
                  </a:cubicBezTo>
                  <a:cubicBezTo>
                    <a:pt x="617" y="189"/>
                    <a:pt x="615" y="191"/>
                    <a:pt x="614" y="194"/>
                  </a:cubicBezTo>
                  <a:cubicBezTo>
                    <a:pt x="605" y="210"/>
                    <a:pt x="597" y="220"/>
                    <a:pt x="594" y="223"/>
                  </a:cubicBezTo>
                  <a:cubicBezTo>
                    <a:pt x="588" y="224"/>
                    <a:pt x="580" y="225"/>
                    <a:pt x="573" y="225"/>
                  </a:cubicBezTo>
                  <a:lnTo>
                    <a:pt x="573" y="176"/>
                  </a:lnTo>
                  <a:close/>
                  <a:moveTo>
                    <a:pt x="573" y="122"/>
                  </a:moveTo>
                  <a:lnTo>
                    <a:pt x="634" y="122"/>
                  </a:lnTo>
                  <a:cubicBezTo>
                    <a:pt x="633" y="142"/>
                    <a:pt x="628" y="161"/>
                    <a:pt x="622" y="176"/>
                  </a:cubicBezTo>
                  <a:cubicBezTo>
                    <a:pt x="609" y="171"/>
                    <a:pt x="592" y="167"/>
                    <a:pt x="573" y="166"/>
                  </a:cubicBezTo>
                  <a:lnTo>
                    <a:pt x="573" y="122"/>
                  </a:lnTo>
                  <a:close/>
                  <a:moveTo>
                    <a:pt x="573" y="64"/>
                  </a:moveTo>
                  <a:cubicBezTo>
                    <a:pt x="591" y="64"/>
                    <a:pt x="607" y="60"/>
                    <a:pt x="620" y="56"/>
                  </a:cubicBezTo>
                  <a:cubicBezTo>
                    <a:pt x="627" y="71"/>
                    <a:pt x="633" y="91"/>
                    <a:pt x="634" y="112"/>
                  </a:cubicBezTo>
                  <a:lnTo>
                    <a:pt x="573" y="112"/>
                  </a:lnTo>
                  <a:lnTo>
                    <a:pt x="573" y="64"/>
                  </a:lnTo>
                  <a:close/>
                  <a:moveTo>
                    <a:pt x="573" y="10"/>
                  </a:moveTo>
                  <a:cubicBezTo>
                    <a:pt x="579" y="10"/>
                    <a:pt x="584" y="11"/>
                    <a:pt x="589" y="12"/>
                  </a:cubicBezTo>
                  <a:cubicBezTo>
                    <a:pt x="592" y="15"/>
                    <a:pt x="602" y="25"/>
                    <a:pt x="611" y="40"/>
                  </a:cubicBezTo>
                  <a:cubicBezTo>
                    <a:pt x="612" y="42"/>
                    <a:pt x="613" y="44"/>
                    <a:pt x="614" y="46"/>
                  </a:cubicBezTo>
                  <a:cubicBezTo>
                    <a:pt x="603" y="50"/>
                    <a:pt x="589" y="53"/>
                    <a:pt x="573" y="54"/>
                  </a:cubicBezTo>
                  <a:lnTo>
                    <a:pt x="573" y="10"/>
                  </a:lnTo>
                  <a:close/>
                  <a:moveTo>
                    <a:pt x="643" y="33"/>
                  </a:moveTo>
                  <a:cubicBezTo>
                    <a:pt x="639" y="35"/>
                    <a:pt x="634" y="38"/>
                    <a:pt x="627" y="41"/>
                  </a:cubicBezTo>
                  <a:cubicBezTo>
                    <a:pt x="626" y="41"/>
                    <a:pt x="625" y="42"/>
                    <a:pt x="625" y="42"/>
                  </a:cubicBezTo>
                  <a:cubicBezTo>
                    <a:pt x="619" y="31"/>
                    <a:pt x="612" y="22"/>
                    <a:pt x="607" y="16"/>
                  </a:cubicBezTo>
                  <a:cubicBezTo>
                    <a:pt x="620" y="20"/>
                    <a:pt x="632" y="26"/>
                    <a:pt x="643" y="33"/>
                  </a:cubicBezTo>
                  <a:close/>
                  <a:moveTo>
                    <a:pt x="688" y="112"/>
                  </a:moveTo>
                  <a:lnTo>
                    <a:pt x="645" y="112"/>
                  </a:lnTo>
                  <a:cubicBezTo>
                    <a:pt x="644" y="89"/>
                    <a:pt x="637" y="68"/>
                    <a:pt x="630" y="52"/>
                  </a:cubicBezTo>
                  <a:cubicBezTo>
                    <a:pt x="640" y="47"/>
                    <a:pt x="647" y="43"/>
                    <a:pt x="652" y="40"/>
                  </a:cubicBezTo>
                  <a:cubicBezTo>
                    <a:pt x="673" y="59"/>
                    <a:pt x="686" y="84"/>
                    <a:pt x="688" y="112"/>
                  </a:cubicBezTo>
                  <a:close/>
                  <a:moveTo>
                    <a:pt x="655" y="192"/>
                  </a:moveTo>
                  <a:cubicBezTo>
                    <a:pt x="654" y="192"/>
                    <a:pt x="646" y="186"/>
                    <a:pt x="632" y="180"/>
                  </a:cubicBezTo>
                  <a:cubicBezTo>
                    <a:pt x="639" y="164"/>
                    <a:pt x="644" y="144"/>
                    <a:pt x="645" y="122"/>
                  </a:cubicBezTo>
                  <a:lnTo>
                    <a:pt x="688" y="122"/>
                  </a:lnTo>
                  <a:cubicBezTo>
                    <a:pt x="687" y="150"/>
                    <a:pt x="674" y="174"/>
                    <a:pt x="655" y="192"/>
                  </a:cubicBezTo>
                  <a:close/>
                  <a:moveTo>
                    <a:pt x="612" y="218"/>
                  </a:moveTo>
                  <a:cubicBezTo>
                    <a:pt x="616" y="211"/>
                    <a:pt x="622" y="202"/>
                    <a:pt x="628" y="190"/>
                  </a:cubicBezTo>
                  <a:cubicBezTo>
                    <a:pt x="637" y="194"/>
                    <a:pt x="643" y="198"/>
                    <a:pt x="646" y="200"/>
                  </a:cubicBezTo>
                  <a:cubicBezTo>
                    <a:pt x="636" y="208"/>
                    <a:pt x="624" y="214"/>
                    <a:pt x="612" y="218"/>
                  </a:cubicBezTo>
                  <a:close/>
                  <a:moveTo>
                    <a:pt x="563" y="236"/>
                  </a:moveTo>
                  <a:lnTo>
                    <a:pt x="563" y="236"/>
                  </a:lnTo>
                  <a:lnTo>
                    <a:pt x="573" y="236"/>
                  </a:lnTo>
                  <a:lnTo>
                    <a:pt x="573" y="236"/>
                  </a:lnTo>
                  <a:cubicBezTo>
                    <a:pt x="643" y="234"/>
                    <a:pt x="699" y="182"/>
                    <a:pt x="699" y="118"/>
                  </a:cubicBezTo>
                  <a:cubicBezTo>
                    <a:pt x="699" y="53"/>
                    <a:pt x="641" y="0"/>
                    <a:pt x="569" y="0"/>
                  </a:cubicBezTo>
                  <a:cubicBezTo>
                    <a:pt x="497" y="0"/>
                    <a:pt x="438" y="53"/>
                    <a:pt x="438" y="118"/>
                  </a:cubicBezTo>
                  <a:cubicBezTo>
                    <a:pt x="438" y="181"/>
                    <a:pt x="494" y="233"/>
                    <a:pt x="563" y="236"/>
                  </a:cubicBezTo>
                  <a:close/>
                  <a:moveTo>
                    <a:pt x="776" y="135"/>
                  </a:moveTo>
                  <a:cubicBezTo>
                    <a:pt x="783" y="122"/>
                    <a:pt x="791" y="106"/>
                    <a:pt x="797" y="91"/>
                  </a:cubicBezTo>
                  <a:lnTo>
                    <a:pt x="797" y="91"/>
                  </a:lnTo>
                  <a:cubicBezTo>
                    <a:pt x="796" y="107"/>
                    <a:pt x="795" y="124"/>
                    <a:pt x="795" y="144"/>
                  </a:cubicBezTo>
                  <a:lnTo>
                    <a:pt x="795" y="180"/>
                  </a:lnTo>
                  <a:lnTo>
                    <a:pt x="821" y="180"/>
                  </a:lnTo>
                  <a:lnTo>
                    <a:pt x="821" y="56"/>
                  </a:lnTo>
                  <a:lnTo>
                    <a:pt x="792" y="56"/>
                  </a:lnTo>
                  <a:lnTo>
                    <a:pt x="766" y="105"/>
                  </a:lnTo>
                  <a:cubicBezTo>
                    <a:pt x="758" y="118"/>
                    <a:pt x="750" y="135"/>
                    <a:pt x="744" y="149"/>
                  </a:cubicBezTo>
                  <a:lnTo>
                    <a:pt x="743" y="149"/>
                  </a:lnTo>
                  <a:cubicBezTo>
                    <a:pt x="744" y="133"/>
                    <a:pt x="744" y="113"/>
                    <a:pt x="744" y="93"/>
                  </a:cubicBezTo>
                  <a:lnTo>
                    <a:pt x="744" y="56"/>
                  </a:lnTo>
                  <a:lnTo>
                    <a:pt x="719" y="56"/>
                  </a:lnTo>
                  <a:lnTo>
                    <a:pt x="719" y="180"/>
                  </a:lnTo>
                  <a:lnTo>
                    <a:pt x="751" y="180"/>
                  </a:lnTo>
                  <a:lnTo>
                    <a:pt x="776" y="135"/>
                  </a:lnTo>
                  <a:close/>
                  <a:moveTo>
                    <a:pt x="879" y="159"/>
                  </a:moveTo>
                  <a:cubicBezTo>
                    <a:pt x="868" y="159"/>
                    <a:pt x="855" y="155"/>
                    <a:pt x="849" y="152"/>
                  </a:cubicBezTo>
                  <a:lnTo>
                    <a:pt x="843" y="174"/>
                  </a:lnTo>
                  <a:cubicBezTo>
                    <a:pt x="854" y="179"/>
                    <a:pt x="868" y="182"/>
                    <a:pt x="880" y="182"/>
                  </a:cubicBezTo>
                  <a:cubicBezTo>
                    <a:pt x="904" y="182"/>
                    <a:pt x="932" y="173"/>
                    <a:pt x="932" y="145"/>
                  </a:cubicBezTo>
                  <a:cubicBezTo>
                    <a:pt x="932" y="128"/>
                    <a:pt x="918" y="118"/>
                    <a:pt x="903" y="116"/>
                  </a:cubicBezTo>
                  <a:lnTo>
                    <a:pt x="903" y="115"/>
                  </a:lnTo>
                  <a:cubicBezTo>
                    <a:pt x="917" y="112"/>
                    <a:pt x="927" y="101"/>
                    <a:pt x="927" y="86"/>
                  </a:cubicBezTo>
                  <a:cubicBezTo>
                    <a:pt x="927" y="68"/>
                    <a:pt x="911" y="54"/>
                    <a:pt x="884" y="54"/>
                  </a:cubicBezTo>
                  <a:cubicBezTo>
                    <a:pt x="867" y="54"/>
                    <a:pt x="854" y="59"/>
                    <a:pt x="846" y="64"/>
                  </a:cubicBezTo>
                  <a:lnTo>
                    <a:pt x="852" y="84"/>
                  </a:lnTo>
                  <a:cubicBezTo>
                    <a:pt x="859" y="81"/>
                    <a:pt x="870" y="77"/>
                    <a:pt x="879" y="77"/>
                  </a:cubicBezTo>
                  <a:cubicBezTo>
                    <a:pt x="891" y="77"/>
                    <a:pt x="898" y="82"/>
                    <a:pt x="898" y="90"/>
                  </a:cubicBezTo>
                  <a:cubicBezTo>
                    <a:pt x="898" y="100"/>
                    <a:pt x="889" y="106"/>
                    <a:pt x="876" y="106"/>
                  </a:cubicBezTo>
                  <a:lnTo>
                    <a:pt x="864" y="106"/>
                  </a:lnTo>
                  <a:lnTo>
                    <a:pt x="864" y="127"/>
                  </a:lnTo>
                  <a:lnTo>
                    <a:pt x="876" y="127"/>
                  </a:lnTo>
                  <a:cubicBezTo>
                    <a:pt x="888" y="127"/>
                    <a:pt x="902" y="129"/>
                    <a:pt x="902" y="143"/>
                  </a:cubicBezTo>
                  <a:cubicBezTo>
                    <a:pt x="902" y="153"/>
                    <a:pt x="893" y="159"/>
                    <a:pt x="879" y="159"/>
                  </a:cubicBezTo>
                  <a:close/>
                  <a:moveTo>
                    <a:pt x="1900" y="125"/>
                  </a:moveTo>
                  <a:lnTo>
                    <a:pt x="1910" y="125"/>
                  </a:lnTo>
                  <a:cubicBezTo>
                    <a:pt x="1924" y="125"/>
                    <a:pt x="1935" y="130"/>
                    <a:pt x="1935" y="143"/>
                  </a:cubicBezTo>
                  <a:cubicBezTo>
                    <a:pt x="1935" y="156"/>
                    <a:pt x="1924" y="161"/>
                    <a:pt x="1911" y="161"/>
                  </a:cubicBezTo>
                  <a:cubicBezTo>
                    <a:pt x="1906" y="161"/>
                    <a:pt x="1903" y="161"/>
                    <a:pt x="1900" y="160"/>
                  </a:cubicBezTo>
                  <a:lnTo>
                    <a:pt x="1900" y="125"/>
                  </a:lnTo>
                  <a:close/>
                  <a:moveTo>
                    <a:pt x="1900" y="76"/>
                  </a:moveTo>
                  <a:cubicBezTo>
                    <a:pt x="1903" y="76"/>
                    <a:pt x="1906" y="76"/>
                    <a:pt x="1912" y="76"/>
                  </a:cubicBezTo>
                  <a:cubicBezTo>
                    <a:pt x="1925" y="76"/>
                    <a:pt x="1932" y="81"/>
                    <a:pt x="1932" y="90"/>
                  </a:cubicBezTo>
                  <a:cubicBezTo>
                    <a:pt x="1932" y="99"/>
                    <a:pt x="1924" y="105"/>
                    <a:pt x="1910" y="105"/>
                  </a:cubicBezTo>
                  <a:lnTo>
                    <a:pt x="1900" y="105"/>
                  </a:lnTo>
                  <a:lnTo>
                    <a:pt x="1900" y="76"/>
                  </a:lnTo>
                  <a:close/>
                  <a:moveTo>
                    <a:pt x="1952" y="170"/>
                  </a:moveTo>
                  <a:cubicBezTo>
                    <a:pt x="1959" y="164"/>
                    <a:pt x="1965" y="155"/>
                    <a:pt x="1965" y="144"/>
                  </a:cubicBezTo>
                  <a:cubicBezTo>
                    <a:pt x="1965" y="128"/>
                    <a:pt x="1954" y="117"/>
                    <a:pt x="1940" y="113"/>
                  </a:cubicBezTo>
                  <a:lnTo>
                    <a:pt x="1940" y="113"/>
                  </a:lnTo>
                  <a:cubicBezTo>
                    <a:pt x="1954" y="108"/>
                    <a:pt x="1960" y="98"/>
                    <a:pt x="1960" y="87"/>
                  </a:cubicBezTo>
                  <a:cubicBezTo>
                    <a:pt x="1960" y="75"/>
                    <a:pt x="1954" y="67"/>
                    <a:pt x="1945" y="62"/>
                  </a:cubicBezTo>
                  <a:cubicBezTo>
                    <a:pt x="1936" y="57"/>
                    <a:pt x="1926" y="55"/>
                    <a:pt x="1909" y="55"/>
                  </a:cubicBezTo>
                  <a:cubicBezTo>
                    <a:pt x="1895" y="55"/>
                    <a:pt x="1880" y="56"/>
                    <a:pt x="1873" y="58"/>
                  </a:cubicBezTo>
                  <a:lnTo>
                    <a:pt x="1873" y="180"/>
                  </a:lnTo>
                  <a:cubicBezTo>
                    <a:pt x="1879" y="180"/>
                    <a:pt x="1889" y="181"/>
                    <a:pt x="1903" y="181"/>
                  </a:cubicBezTo>
                  <a:cubicBezTo>
                    <a:pt x="1928" y="181"/>
                    <a:pt x="1943" y="177"/>
                    <a:pt x="1952" y="170"/>
                  </a:cubicBezTo>
                  <a:close/>
                  <a:moveTo>
                    <a:pt x="1791" y="180"/>
                  </a:moveTo>
                  <a:lnTo>
                    <a:pt x="1819" y="180"/>
                  </a:lnTo>
                  <a:lnTo>
                    <a:pt x="1819" y="80"/>
                  </a:lnTo>
                  <a:lnTo>
                    <a:pt x="1853" y="80"/>
                  </a:lnTo>
                  <a:lnTo>
                    <a:pt x="1853" y="56"/>
                  </a:lnTo>
                  <a:lnTo>
                    <a:pt x="1758" y="56"/>
                  </a:lnTo>
                  <a:lnTo>
                    <a:pt x="1758" y="80"/>
                  </a:lnTo>
                  <a:lnTo>
                    <a:pt x="1791" y="80"/>
                  </a:lnTo>
                  <a:lnTo>
                    <a:pt x="1791" y="180"/>
                  </a:lnTo>
                  <a:close/>
                  <a:moveTo>
                    <a:pt x="2041" y="76"/>
                  </a:moveTo>
                  <a:cubicBezTo>
                    <a:pt x="2061" y="76"/>
                    <a:pt x="2071" y="96"/>
                    <a:pt x="2071" y="118"/>
                  </a:cubicBezTo>
                  <a:cubicBezTo>
                    <a:pt x="2071" y="142"/>
                    <a:pt x="2061" y="160"/>
                    <a:pt x="2042" y="160"/>
                  </a:cubicBezTo>
                  <a:cubicBezTo>
                    <a:pt x="2023" y="160"/>
                    <a:pt x="2011" y="143"/>
                    <a:pt x="2011" y="119"/>
                  </a:cubicBezTo>
                  <a:cubicBezTo>
                    <a:pt x="2011" y="94"/>
                    <a:pt x="2022" y="76"/>
                    <a:pt x="2041" y="76"/>
                  </a:cubicBezTo>
                  <a:close/>
                  <a:moveTo>
                    <a:pt x="2040" y="182"/>
                  </a:moveTo>
                  <a:cubicBezTo>
                    <a:pt x="2076" y="182"/>
                    <a:pt x="2101" y="158"/>
                    <a:pt x="2101" y="117"/>
                  </a:cubicBezTo>
                  <a:cubicBezTo>
                    <a:pt x="2101" y="83"/>
                    <a:pt x="2080" y="54"/>
                    <a:pt x="2042" y="54"/>
                  </a:cubicBezTo>
                  <a:cubicBezTo>
                    <a:pt x="2006" y="54"/>
                    <a:pt x="1982" y="82"/>
                    <a:pt x="1982" y="119"/>
                  </a:cubicBezTo>
                  <a:cubicBezTo>
                    <a:pt x="1982" y="154"/>
                    <a:pt x="2003" y="182"/>
                    <a:pt x="2040" y="182"/>
                  </a:cubicBezTo>
                  <a:close/>
                  <a:moveTo>
                    <a:pt x="1563" y="121"/>
                  </a:moveTo>
                  <a:cubicBezTo>
                    <a:pt x="1566" y="120"/>
                    <a:pt x="1569" y="120"/>
                    <a:pt x="1573" y="120"/>
                  </a:cubicBezTo>
                  <a:cubicBezTo>
                    <a:pt x="1587" y="120"/>
                    <a:pt x="1598" y="126"/>
                    <a:pt x="1598" y="140"/>
                  </a:cubicBezTo>
                  <a:cubicBezTo>
                    <a:pt x="1598" y="154"/>
                    <a:pt x="1587" y="160"/>
                    <a:pt x="1573" y="160"/>
                  </a:cubicBezTo>
                  <a:cubicBezTo>
                    <a:pt x="1569" y="160"/>
                    <a:pt x="1566" y="160"/>
                    <a:pt x="1563" y="160"/>
                  </a:cubicBezTo>
                  <a:lnTo>
                    <a:pt x="1563" y="121"/>
                  </a:lnTo>
                  <a:close/>
                  <a:moveTo>
                    <a:pt x="1617" y="166"/>
                  </a:moveTo>
                  <a:cubicBezTo>
                    <a:pt x="1623" y="159"/>
                    <a:pt x="1627" y="150"/>
                    <a:pt x="1627" y="139"/>
                  </a:cubicBezTo>
                  <a:cubicBezTo>
                    <a:pt x="1627" y="111"/>
                    <a:pt x="1604" y="98"/>
                    <a:pt x="1578" y="98"/>
                  </a:cubicBezTo>
                  <a:cubicBezTo>
                    <a:pt x="1572" y="98"/>
                    <a:pt x="1567" y="99"/>
                    <a:pt x="1563" y="99"/>
                  </a:cubicBezTo>
                  <a:lnTo>
                    <a:pt x="1563" y="56"/>
                  </a:lnTo>
                  <a:lnTo>
                    <a:pt x="1535" y="56"/>
                  </a:lnTo>
                  <a:lnTo>
                    <a:pt x="1535" y="180"/>
                  </a:lnTo>
                  <a:cubicBezTo>
                    <a:pt x="1541" y="180"/>
                    <a:pt x="1551" y="181"/>
                    <a:pt x="1565" y="181"/>
                  </a:cubicBezTo>
                  <a:cubicBezTo>
                    <a:pt x="1584" y="181"/>
                    <a:pt x="1605" y="178"/>
                    <a:pt x="1617" y="166"/>
                  </a:cubicBezTo>
                  <a:close/>
                  <a:moveTo>
                    <a:pt x="1709" y="182"/>
                  </a:moveTo>
                  <a:cubicBezTo>
                    <a:pt x="1724" y="182"/>
                    <a:pt x="1735" y="179"/>
                    <a:pt x="1741" y="177"/>
                  </a:cubicBezTo>
                  <a:lnTo>
                    <a:pt x="1736" y="155"/>
                  </a:lnTo>
                  <a:cubicBezTo>
                    <a:pt x="1731" y="157"/>
                    <a:pt x="1721" y="159"/>
                    <a:pt x="1713" y="159"/>
                  </a:cubicBezTo>
                  <a:cubicBezTo>
                    <a:pt x="1688" y="159"/>
                    <a:pt x="1673" y="143"/>
                    <a:pt x="1673" y="118"/>
                  </a:cubicBezTo>
                  <a:cubicBezTo>
                    <a:pt x="1673" y="91"/>
                    <a:pt x="1691" y="77"/>
                    <a:pt x="1713" y="77"/>
                  </a:cubicBezTo>
                  <a:cubicBezTo>
                    <a:pt x="1723" y="77"/>
                    <a:pt x="1731" y="80"/>
                    <a:pt x="1736" y="82"/>
                  </a:cubicBezTo>
                  <a:lnTo>
                    <a:pt x="1742" y="60"/>
                  </a:lnTo>
                  <a:cubicBezTo>
                    <a:pt x="1737" y="57"/>
                    <a:pt x="1726" y="54"/>
                    <a:pt x="1712" y="54"/>
                  </a:cubicBezTo>
                  <a:cubicBezTo>
                    <a:pt x="1674" y="54"/>
                    <a:pt x="1644" y="78"/>
                    <a:pt x="1644" y="120"/>
                  </a:cubicBezTo>
                  <a:cubicBezTo>
                    <a:pt x="1644" y="155"/>
                    <a:pt x="1666" y="182"/>
                    <a:pt x="1709" y="182"/>
                  </a:cubicBezTo>
                  <a:close/>
                  <a:moveTo>
                    <a:pt x="1427" y="176"/>
                  </a:moveTo>
                  <a:cubicBezTo>
                    <a:pt x="1445" y="165"/>
                    <a:pt x="1450" y="140"/>
                    <a:pt x="1450" y="109"/>
                  </a:cubicBezTo>
                  <a:lnTo>
                    <a:pt x="1450" y="79"/>
                  </a:lnTo>
                  <a:lnTo>
                    <a:pt x="1478" y="79"/>
                  </a:lnTo>
                  <a:lnTo>
                    <a:pt x="1478" y="180"/>
                  </a:lnTo>
                  <a:lnTo>
                    <a:pt x="1506" y="180"/>
                  </a:lnTo>
                  <a:lnTo>
                    <a:pt x="1506" y="56"/>
                  </a:lnTo>
                  <a:lnTo>
                    <a:pt x="1422" y="56"/>
                  </a:lnTo>
                  <a:lnTo>
                    <a:pt x="1422" y="110"/>
                  </a:lnTo>
                  <a:cubicBezTo>
                    <a:pt x="1422" y="129"/>
                    <a:pt x="1420" y="145"/>
                    <a:pt x="1413" y="153"/>
                  </a:cubicBezTo>
                  <a:cubicBezTo>
                    <a:pt x="1410" y="156"/>
                    <a:pt x="1405" y="159"/>
                    <a:pt x="1399" y="160"/>
                  </a:cubicBezTo>
                  <a:lnTo>
                    <a:pt x="1402" y="182"/>
                  </a:lnTo>
                  <a:cubicBezTo>
                    <a:pt x="1412" y="182"/>
                    <a:pt x="1421" y="180"/>
                    <a:pt x="1427" y="1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56322" name="Picture 2" descr="G:\2019\ПРОСВЕЩЕНИЕ\2020\август\августовка на переделку\Рисунок1.emf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542" y="1655303"/>
            <a:ext cx="780452" cy="78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Прямоугольник 63"/>
          <p:cNvSpPr/>
          <p:nvPr/>
        </p:nvSpPr>
        <p:spPr>
          <a:xfrm>
            <a:off x="6570133" y="4986868"/>
            <a:ext cx="535286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2000" b="1" dirty="0">
              <a:solidFill>
                <a:srgbClr val="002060"/>
              </a:solidFill>
            </a:endParaRPr>
          </a:p>
          <a:p>
            <a:r>
              <a:rPr lang="ru-RU" sz="2000" b="1" dirty="0" err="1">
                <a:solidFill>
                  <a:srgbClr val="002060"/>
                </a:solidFill>
              </a:rPr>
              <a:t>Бешенков</a:t>
            </a:r>
            <a:r>
              <a:rPr lang="ru-RU" sz="2000" b="1" dirty="0">
                <a:solidFill>
                  <a:srgbClr val="002060"/>
                </a:solidFill>
              </a:rPr>
              <a:t> С.А., д.п.н., профессор</a:t>
            </a:r>
          </a:p>
          <a:p>
            <a:r>
              <a:rPr lang="ru-RU" sz="2000" b="1" dirty="0" err="1">
                <a:solidFill>
                  <a:srgbClr val="002060"/>
                </a:solidFill>
              </a:rPr>
              <a:t>Шутикова</a:t>
            </a:r>
            <a:r>
              <a:rPr lang="ru-RU" sz="2000" b="1" dirty="0">
                <a:solidFill>
                  <a:srgbClr val="002060"/>
                </a:solidFill>
              </a:rPr>
              <a:t> М.И., д.п.н., профессор</a:t>
            </a:r>
          </a:p>
        </p:txBody>
      </p:sp>
    </p:spTree>
    <p:extLst>
      <p:ext uri="{BB962C8B-B14F-4D97-AF65-F5344CB8AC3E}">
        <p14:creationId xmlns:p14="http://schemas.microsoft.com/office/powerpoint/2010/main" val="19386788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88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9940" y="357978"/>
            <a:ext cx="4352925" cy="5133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88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2865" y="0"/>
            <a:ext cx="6519136" cy="6777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0" y="5380672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Основной целью освоения предметной области «Технология» является формирование технологической грамотности, глобальных компетенций, творческого мышления, необходимых для перехода к новым приоритетам научно-технологического развития РФ</a:t>
            </a:r>
          </a:p>
        </p:txBody>
      </p:sp>
    </p:spTree>
    <p:extLst>
      <p:ext uri="{BB962C8B-B14F-4D97-AF65-F5344CB8AC3E}">
        <p14:creationId xmlns:p14="http://schemas.microsoft.com/office/powerpoint/2010/main" val="9144136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6435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53491" y="-4450"/>
            <a:ext cx="10002982" cy="686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Прямоугольник 3"/>
          <p:cNvSpPr/>
          <p:nvPr/>
        </p:nvSpPr>
        <p:spPr>
          <a:xfrm rot="16200000">
            <a:off x="-2036618" y="3348335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buNone/>
            </a:pPr>
            <a:r>
              <a:rPr lang="ru-RU" dirty="0">
                <a:solidFill>
                  <a:srgbClr val="2D2B8D"/>
                </a:solidFill>
              </a:rPr>
              <a:t>Пример</a:t>
            </a:r>
          </a:p>
          <a:p>
            <a:pPr algn="ctr">
              <a:buNone/>
            </a:pPr>
            <a:r>
              <a:rPr lang="ru-RU" dirty="0">
                <a:solidFill>
                  <a:srgbClr val="2D2B8D"/>
                </a:solidFill>
              </a:rPr>
              <a:t>схемы построения </a:t>
            </a:r>
          </a:p>
          <a:p>
            <a:pPr algn="ctr">
              <a:buNone/>
            </a:pPr>
            <a:r>
              <a:rPr lang="ru-RU" dirty="0">
                <a:solidFill>
                  <a:srgbClr val="2D2B8D"/>
                </a:solidFill>
              </a:rPr>
              <a:t>курса</a:t>
            </a:r>
            <a:endParaRPr lang="ru-RU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8667" y="1600200"/>
            <a:ext cx="11243733" cy="4967600"/>
          </a:xfrm>
        </p:spPr>
        <p:txBody>
          <a:bodyPr/>
          <a:lstStyle/>
          <a:p>
            <a:endParaRPr lang="ru-RU" dirty="0">
              <a:solidFill>
                <a:srgbClr val="2D2B8D"/>
              </a:solidFill>
            </a:endParaRPr>
          </a:p>
          <a:p>
            <a:pPr>
              <a:buNone/>
            </a:pPr>
            <a:r>
              <a:rPr lang="ru-RU" dirty="0">
                <a:solidFill>
                  <a:srgbClr val="2D2B8D"/>
                </a:solidFill>
              </a:rPr>
              <a:t>Пример</a:t>
            </a:r>
          </a:p>
          <a:p>
            <a:pPr>
              <a:buNone/>
            </a:pPr>
            <a:r>
              <a:rPr lang="ru-RU" dirty="0">
                <a:solidFill>
                  <a:srgbClr val="2D2B8D"/>
                </a:solidFill>
              </a:rPr>
              <a:t>схемы построения </a:t>
            </a:r>
          </a:p>
          <a:p>
            <a:pPr>
              <a:buNone/>
            </a:pPr>
            <a:r>
              <a:rPr lang="ru-RU" dirty="0">
                <a:solidFill>
                  <a:srgbClr val="2D2B8D"/>
                </a:solidFill>
              </a:rPr>
              <a:t>курса</a:t>
            </a:r>
            <a:endParaRPr lang="ru-RU" dirty="0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41964" y="-7627"/>
            <a:ext cx="8950036" cy="6730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Выноска со стрелкой вниз 2"/>
          <p:cNvSpPr/>
          <p:nvPr/>
        </p:nvSpPr>
        <p:spPr>
          <a:xfrm>
            <a:off x="3549111" y="129614"/>
            <a:ext cx="8485994" cy="1172227"/>
          </a:xfrm>
          <a:prstGeom prst="downArrowCallou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R="6350" algn="ctr">
              <a:lnSpc>
                <a:spcPct val="100099"/>
              </a:lnSpc>
            </a:pPr>
            <a:endParaRPr lang="ru-RU" b="1" spc="20" dirty="0">
              <a:solidFill>
                <a:srgbClr val="002060"/>
              </a:solidFill>
              <a:cs typeface="Calibri"/>
            </a:endParaRPr>
          </a:p>
          <a:p>
            <a:pPr marR="6350" algn="ctr">
              <a:lnSpc>
                <a:spcPct val="100099"/>
              </a:lnSpc>
            </a:pPr>
            <a:r>
              <a:rPr lang="ru-RU" b="1" spc="20" dirty="0">
                <a:solidFill>
                  <a:srgbClr val="002060"/>
                </a:solidFill>
                <a:cs typeface="Calibri"/>
              </a:rPr>
              <a:t>Концепция</a:t>
            </a:r>
            <a:r>
              <a:rPr lang="ru-RU" b="1" spc="-190" dirty="0">
                <a:solidFill>
                  <a:srgbClr val="002060"/>
                </a:solidFill>
                <a:cs typeface="Calibri"/>
              </a:rPr>
              <a:t> </a:t>
            </a:r>
            <a:r>
              <a:rPr lang="ru-RU" b="1" spc="15" dirty="0">
                <a:solidFill>
                  <a:srgbClr val="002060"/>
                </a:solidFill>
                <a:cs typeface="Calibri"/>
              </a:rPr>
              <a:t>преподавания учебного предмета </a:t>
            </a:r>
            <a:r>
              <a:rPr lang="ru-RU" b="1" spc="15" dirty="0">
                <a:solidFill>
                  <a:srgbClr val="C00000"/>
                </a:solidFill>
                <a:cs typeface="Calibri"/>
              </a:rPr>
              <a:t>«</a:t>
            </a:r>
            <a:r>
              <a:rPr lang="ru-RU" b="1" spc="25" dirty="0">
                <a:solidFill>
                  <a:srgbClr val="C00000"/>
                </a:solidFill>
                <a:cs typeface="Calibri"/>
              </a:rPr>
              <a:t>Технология</a:t>
            </a:r>
            <a:r>
              <a:rPr lang="ru-RU" b="1" dirty="0">
                <a:solidFill>
                  <a:srgbClr val="C00000"/>
                </a:solidFill>
                <a:cs typeface="Calibri"/>
              </a:rPr>
              <a:t>»</a:t>
            </a:r>
            <a:r>
              <a:rPr lang="ru-RU" b="1" dirty="0">
                <a:solidFill>
                  <a:srgbClr val="002060"/>
                </a:solidFill>
                <a:cs typeface="Calibri"/>
              </a:rPr>
              <a:t>: </a:t>
            </a:r>
          </a:p>
          <a:p>
            <a:pPr marR="6350" algn="ctr">
              <a:lnSpc>
                <a:spcPct val="100099"/>
              </a:lnSpc>
            </a:pPr>
            <a:r>
              <a:rPr lang="ru-RU" b="1" dirty="0">
                <a:solidFill>
                  <a:srgbClr val="C00000"/>
                </a:solidFill>
                <a:cs typeface="Calibri"/>
              </a:rPr>
              <a:t>метапредметные аспекты</a:t>
            </a:r>
            <a:endParaRPr lang="ru-RU" dirty="0">
              <a:solidFill>
                <a:srgbClr val="C00000"/>
              </a:solidFill>
              <a:cs typeface="Calibri"/>
            </a:endParaRPr>
          </a:p>
          <a:p>
            <a:pPr algn="ctr"/>
            <a:endParaRPr lang="ru-RU" dirty="0"/>
          </a:p>
        </p:txBody>
      </p:sp>
      <p:sp>
        <p:nvSpPr>
          <p:cNvPr id="4" name="Выноска со стрелкой вправо 3"/>
          <p:cNvSpPr/>
          <p:nvPr/>
        </p:nvSpPr>
        <p:spPr>
          <a:xfrm>
            <a:off x="166466" y="1571177"/>
            <a:ext cx="3151041" cy="1437484"/>
          </a:xfrm>
          <a:prstGeom prst="rightArrowCallout">
            <a:avLst>
              <a:gd name="adj1" fmla="val 19308"/>
              <a:gd name="adj2" fmla="val 25000"/>
              <a:gd name="adj3" fmla="val 35215"/>
              <a:gd name="adj4" fmla="val 81731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rgbClr val="C00000"/>
                </a:solidFill>
              </a:rPr>
              <a:t>Вернёмся к  истокам!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549111" y="1571177"/>
            <a:ext cx="8485993" cy="470898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4383DD"/>
            </a:solidFill>
            <a:prstDash val="solid"/>
          </a:ln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C00000"/>
                </a:solidFill>
              </a:rPr>
              <a:t>«</a:t>
            </a:r>
            <a:r>
              <a:rPr lang="ru-RU" sz="2000" b="1" dirty="0" err="1">
                <a:solidFill>
                  <a:srgbClr val="C00000"/>
                </a:solidFill>
              </a:rPr>
              <a:t>Техноло́гия</a:t>
            </a:r>
            <a:r>
              <a:rPr lang="ru-RU" sz="2000" b="1" dirty="0">
                <a:solidFill>
                  <a:srgbClr val="C00000"/>
                </a:solidFill>
              </a:rPr>
              <a:t>» (учебный предмет) должна отражать аспекты базовой для себя сферы:</a:t>
            </a:r>
          </a:p>
          <a:p>
            <a:r>
              <a:rPr lang="ru-RU" sz="2000" dirty="0"/>
              <a:t>1. Технология – </a:t>
            </a:r>
            <a:r>
              <a:rPr lang="ru-RU" sz="2000" b="1" dirty="0"/>
              <a:t>замкнутый процесс полного цикла</a:t>
            </a:r>
            <a:r>
              <a:rPr lang="ru-RU" sz="2000" dirty="0"/>
              <a:t>, цель – создание проектируемого продукта (материального, интеллектуального, морального, политического и т. п.).</a:t>
            </a:r>
          </a:p>
          <a:p>
            <a:r>
              <a:rPr lang="ru-RU" sz="2000" dirty="0"/>
              <a:t>2. Для создания продукта необходим </a:t>
            </a:r>
            <a:r>
              <a:rPr lang="ru-RU" sz="2000" b="1" dirty="0"/>
              <a:t>полный цикл информационной деятельности</a:t>
            </a:r>
            <a:r>
              <a:rPr lang="ru-RU" sz="2000" dirty="0"/>
              <a:t>, схема которого следующая: </a:t>
            </a:r>
            <a:r>
              <a:rPr lang="ru-RU" sz="2000" b="1" i="1" dirty="0"/>
              <a:t>данные – информация – знание - технология (дизайн: содержание + форма).</a:t>
            </a:r>
          </a:p>
          <a:p>
            <a:r>
              <a:rPr lang="ru-RU" sz="2000" dirty="0"/>
              <a:t>3. В основе научной деятельности и учебной деятельности (как модели научной деятельности) – </a:t>
            </a:r>
            <a:r>
              <a:rPr lang="ru-RU" sz="2000" b="1" dirty="0"/>
              <a:t>информационные когнитивные технологии </a:t>
            </a:r>
            <a:r>
              <a:rPr lang="ru-RU" sz="2000" dirty="0"/>
              <a:t>(метазнания, метапредметные результаты образования, УУД и др.).</a:t>
            </a:r>
          </a:p>
          <a:p>
            <a:r>
              <a:rPr lang="ru-RU" sz="2000" dirty="0"/>
              <a:t>4. </a:t>
            </a:r>
            <a:r>
              <a:rPr lang="ru-RU" sz="2000" b="1" dirty="0"/>
              <a:t>Технологические компетенции </a:t>
            </a:r>
            <a:r>
              <a:rPr lang="ru-RU" sz="2000" dirty="0"/>
              <a:t>— универсальные (экзистенциальные) навыки: обобщённо – это способность и готовность к деятельности по решению жизненных (реальных) задач и учебно-тренировочных задач (способность учиться/разучиваться/переучиваться).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66466" y="3403170"/>
            <a:ext cx="3233058" cy="2052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1781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Выноска со стрелкой вниз 2"/>
          <p:cNvSpPr/>
          <p:nvPr/>
        </p:nvSpPr>
        <p:spPr>
          <a:xfrm>
            <a:off x="1834213" y="38946"/>
            <a:ext cx="8485994" cy="1172227"/>
          </a:xfrm>
          <a:prstGeom prst="downArrowCallou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R="6350" algn="ctr">
              <a:lnSpc>
                <a:spcPct val="100099"/>
              </a:lnSpc>
            </a:pPr>
            <a:endParaRPr lang="ru-RU" b="1" spc="20" dirty="0">
              <a:solidFill>
                <a:srgbClr val="002060"/>
              </a:solidFill>
              <a:cs typeface="Calibri"/>
            </a:endParaRPr>
          </a:p>
          <a:p>
            <a:pPr marR="6350" algn="ctr">
              <a:lnSpc>
                <a:spcPct val="100099"/>
              </a:lnSpc>
            </a:pPr>
            <a:r>
              <a:rPr lang="ru-RU" b="1" spc="20" dirty="0">
                <a:solidFill>
                  <a:srgbClr val="002060"/>
                </a:solidFill>
                <a:cs typeface="Calibri"/>
              </a:rPr>
              <a:t>Концепция</a:t>
            </a:r>
            <a:r>
              <a:rPr lang="ru-RU" b="1" spc="-190" dirty="0">
                <a:solidFill>
                  <a:srgbClr val="002060"/>
                </a:solidFill>
                <a:cs typeface="Calibri"/>
              </a:rPr>
              <a:t> </a:t>
            </a:r>
            <a:r>
              <a:rPr lang="ru-RU" b="1" spc="15" dirty="0">
                <a:solidFill>
                  <a:srgbClr val="002060"/>
                </a:solidFill>
                <a:cs typeface="Calibri"/>
              </a:rPr>
              <a:t>преподавания учебного предмета </a:t>
            </a:r>
            <a:r>
              <a:rPr lang="ru-RU" b="1" spc="15" dirty="0">
                <a:solidFill>
                  <a:srgbClr val="C00000"/>
                </a:solidFill>
                <a:cs typeface="Calibri"/>
              </a:rPr>
              <a:t>«</a:t>
            </a:r>
            <a:r>
              <a:rPr lang="ru-RU" b="1" spc="25" dirty="0">
                <a:solidFill>
                  <a:srgbClr val="C00000"/>
                </a:solidFill>
                <a:cs typeface="Calibri"/>
              </a:rPr>
              <a:t>Технология</a:t>
            </a:r>
            <a:r>
              <a:rPr lang="ru-RU" b="1" dirty="0">
                <a:solidFill>
                  <a:srgbClr val="C00000"/>
                </a:solidFill>
                <a:cs typeface="Calibri"/>
              </a:rPr>
              <a:t>»</a:t>
            </a:r>
            <a:r>
              <a:rPr lang="ru-RU" b="1" dirty="0">
                <a:solidFill>
                  <a:srgbClr val="002060"/>
                </a:solidFill>
                <a:cs typeface="Calibri"/>
              </a:rPr>
              <a:t>: </a:t>
            </a:r>
          </a:p>
          <a:p>
            <a:pPr marR="6350" algn="ctr">
              <a:lnSpc>
                <a:spcPct val="100099"/>
              </a:lnSpc>
            </a:pPr>
            <a:r>
              <a:rPr lang="ru-RU" b="1" dirty="0">
                <a:solidFill>
                  <a:srgbClr val="C00000"/>
                </a:solidFill>
                <a:cs typeface="Calibri"/>
              </a:rPr>
              <a:t>метапредметные аспекты</a:t>
            </a:r>
            <a:endParaRPr lang="ru-RU" dirty="0">
              <a:solidFill>
                <a:srgbClr val="C00000"/>
              </a:solidFill>
              <a:cs typeface="Calibri"/>
            </a:endParaRPr>
          </a:p>
          <a:p>
            <a:pPr algn="ctr"/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242803" y="1337488"/>
            <a:ext cx="5146879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i="1" dirty="0"/>
              <a:t>Глава 7. Задачи и технологии их решения </a:t>
            </a:r>
          </a:p>
          <a:p>
            <a:r>
              <a:rPr lang="ru-RU" sz="2000" dirty="0"/>
              <a:t>§.16. Учимся читать</a:t>
            </a:r>
          </a:p>
          <a:p>
            <a:r>
              <a:rPr lang="ru-RU" sz="2000" dirty="0"/>
              <a:t>§.17. Учимся обозначать</a:t>
            </a:r>
          </a:p>
          <a:p>
            <a:r>
              <a:rPr lang="ru-RU" sz="2000" dirty="0"/>
              <a:t>§.18. Учимся думать</a:t>
            </a:r>
          </a:p>
          <a:p>
            <a:r>
              <a:rPr lang="ru-RU" sz="2000" dirty="0"/>
              <a:t>§.19. Учимся запоминать</a:t>
            </a:r>
          </a:p>
          <a:p>
            <a:r>
              <a:rPr lang="ru-RU" sz="2000" dirty="0"/>
              <a:t>§.20. Учимся представлять информацию</a:t>
            </a:r>
          </a:p>
          <a:p>
            <a:r>
              <a:rPr lang="ru-RU" sz="2000" dirty="0"/>
              <a:t>§.21. Учимся писать</a:t>
            </a:r>
          </a:p>
          <a:p>
            <a:r>
              <a:rPr lang="ru-RU" sz="2000" dirty="0"/>
              <a:t>§.22. Учимся общаться</a:t>
            </a:r>
          </a:p>
          <a:p>
            <a:r>
              <a:rPr lang="ru-RU" sz="2000" dirty="0"/>
              <a:t>§.23. Учимся решать задачи</a:t>
            </a:r>
          </a:p>
          <a:p>
            <a:r>
              <a:rPr lang="ru-RU" sz="2000" dirty="0"/>
              <a:t>§.24. Учимся исследовать</a:t>
            </a:r>
          </a:p>
          <a:p>
            <a:r>
              <a:rPr lang="ru-RU" sz="2000" dirty="0"/>
              <a:t>§.25. Учимся работать над проектом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42803" y="5215473"/>
            <a:ext cx="695531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i="1" dirty="0"/>
              <a:t>Глава 6. Основы информационно-когнитивных</a:t>
            </a:r>
          </a:p>
          <a:p>
            <a:r>
              <a:rPr lang="ru-RU" sz="2000" b="1" i="1" dirty="0"/>
              <a:t>технологий</a:t>
            </a:r>
          </a:p>
          <a:p>
            <a:r>
              <a:rPr lang="ru-RU" sz="2000" dirty="0"/>
              <a:t>§.22. Данные, информация, знание </a:t>
            </a:r>
          </a:p>
          <a:p>
            <a:r>
              <a:rPr lang="ru-RU" sz="2000" dirty="0"/>
              <a:t>§.23. Информационные процессы и ресурсы</a:t>
            </a:r>
          </a:p>
          <a:p>
            <a:r>
              <a:rPr lang="ru-RU" sz="2000" dirty="0"/>
              <a:t>§.24. Формализация и моделирование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42805" y="937378"/>
            <a:ext cx="15914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C00000"/>
                </a:solidFill>
              </a:rPr>
              <a:t>5-6 класс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16074" y="4815363"/>
            <a:ext cx="15914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C00000"/>
                </a:solidFill>
              </a:rPr>
              <a:t>7-9 класс</a:t>
            </a:r>
          </a:p>
        </p:txBody>
      </p:sp>
      <p:pic>
        <p:nvPicPr>
          <p:cNvPr id="122882" name="Picture 2" descr="C:\Users\VEGA\Desktop\Технология_август\Бешенков. Два модуля\Доп иллюстрации_ЭВ Миндзаева\Пр-во и техника 5-6\параграф 17\17_6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1821" y="1386608"/>
            <a:ext cx="1337447" cy="1337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883" name="Picture 3" descr="C:\Users\VEGA\Desktop\Технология_август\Бешенков. Два модуля\Доп иллюстрации_ЭВ Миндзаева\Пр-во и техника 5-6\параграф 18\18_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391569">
            <a:off x="4840601" y="3005233"/>
            <a:ext cx="2473217" cy="1852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884" name="Picture 4" descr="C:\Users\VEGA\Desktop\Технология_август\Бешенков. Два модуля\Доп иллюстрации_ЭВ Миндзаева\Пр-во и техника 5-6\параграф 19\19_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987462">
            <a:off x="6685548" y="1115370"/>
            <a:ext cx="2905125" cy="1571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885" name="Picture 5" descr="C:\Users\VEGA\Desktop\Технология_август\Бешенков. Два модуля\Доп иллюстрации_ЭВ Миндзаева\Пр-во и техника 5-6\параграф 21\21_2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55438">
            <a:off x="7267151" y="2830429"/>
            <a:ext cx="2533185" cy="2499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886" name="Picture 6" descr="C:\Users\VEGA\Desktop\Технология_август\Бешенков. Два модуля\Доп иллюстрации_ЭВ Миндзаева\Пр-во и техника 5-6\параграф 22\22_11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8607" y="563966"/>
            <a:ext cx="1956393" cy="1095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887" name="Picture 7" descr="C:\Users\VEGA\Desktop\Технология_август\Бешенков. Два модуля\Доп иллюстрации_ЭВ Миндзаева\Пр-во и техника 5-6\параграф 24\24_9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8281" y="1886129"/>
            <a:ext cx="1277008" cy="944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888" name="Picture 8" descr="C:\Users\VEGA\Desktop\Технология_август\Бешенков. Два модуля\Доп иллюстрации_ЭВ Миндзаева\Пр-во и техника 7-9\параграф 23\23_2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8300" y="3004334"/>
            <a:ext cx="2216970" cy="1291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889" name="Picture 9" descr="C:\Users\VEGA\Desktop\Технология_август\Бешенков. Два модуля\Доп иллюстрации_ЭВ Миндзаева\Пр-во и техника 7-9\параграф 24\24_6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5533" y="4843330"/>
            <a:ext cx="2381250" cy="1766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891" name="Picture 11" descr="C:\Users\VEGA\Desktop\Технология_август\Бешенков. Два модуля\Доп иллюстрации_ЭВ Миндзаева\Тех обр мат 7-9\параграф 34\34_1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0666" y="5015418"/>
            <a:ext cx="2376018" cy="1679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86201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390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72" t="21075" r="10605" b="18065"/>
          <a:stretch/>
        </p:blipFill>
        <p:spPr bwMode="auto">
          <a:xfrm>
            <a:off x="9352879" y="794585"/>
            <a:ext cx="2776013" cy="164713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" name="Выноска со стрелкой вниз 2"/>
          <p:cNvSpPr/>
          <p:nvPr/>
        </p:nvSpPr>
        <p:spPr>
          <a:xfrm>
            <a:off x="2379889" y="38946"/>
            <a:ext cx="6262655" cy="4252835"/>
          </a:xfrm>
          <a:prstGeom prst="downArrowCallout">
            <a:avLst>
              <a:gd name="adj1" fmla="val 6364"/>
              <a:gd name="adj2" fmla="val 11122"/>
              <a:gd name="adj3" fmla="val 28774"/>
              <a:gd name="adj4" fmla="val 20104"/>
            </a:avLst>
          </a:prstGeom>
          <a:solidFill>
            <a:srgbClr val="000000">
              <a:alpha val="21961"/>
            </a:srgb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R="6350" algn="ctr">
              <a:lnSpc>
                <a:spcPct val="100099"/>
              </a:lnSpc>
            </a:pPr>
            <a:endParaRPr lang="ru-RU" b="1" spc="20" dirty="0">
              <a:solidFill>
                <a:srgbClr val="002060"/>
              </a:solidFill>
              <a:cs typeface="Calibri"/>
            </a:endParaRPr>
          </a:p>
          <a:p>
            <a:pPr marR="6350" algn="ctr">
              <a:lnSpc>
                <a:spcPct val="100099"/>
              </a:lnSpc>
            </a:pPr>
            <a:r>
              <a:rPr lang="ru-RU" b="1" spc="20" dirty="0">
                <a:solidFill>
                  <a:srgbClr val="002060"/>
                </a:solidFill>
                <a:cs typeface="Calibri"/>
              </a:rPr>
              <a:t>Концепция</a:t>
            </a:r>
            <a:r>
              <a:rPr lang="ru-RU" b="1" spc="-190" dirty="0">
                <a:solidFill>
                  <a:srgbClr val="002060"/>
                </a:solidFill>
                <a:cs typeface="Calibri"/>
              </a:rPr>
              <a:t> </a:t>
            </a:r>
            <a:r>
              <a:rPr lang="ru-RU" b="1" spc="15" dirty="0">
                <a:solidFill>
                  <a:srgbClr val="002060"/>
                </a:solidFill>
                <a:cs typeface="Calibri"/>
              </a:rPr>
              <a:t>преподавания учебного предмета </a:t>
            </a:r>
            <a:r>
              <a:rPr lang="ru-RU" b="1" spc="15" dirty="0">
                <a:solidFill>
                  <a:srgbClr val="C00000"/>
                </a:solidFill>
                <a:cs typeface="Calibri"/>
              </a:rPr>
              <a:t>«</a:t>
            </a:r>
            <a:r>
              <a:rPr lang="ru-RU" b="1" spc="25" dirty="0">
                <a:solidFill>
                  <a:srgbClr val="C00000"/>
                </a:solidFill>
                <a:cs typeface="Calibri"/>
              </a:rPr>
              <a:t>Технология</a:t>
            </a:r>
            <a:r>
              <a:rPr lang="ru-RU" b="1" dirty="0">
                <a:solidFill>
                  <a:srgbClr val="C00000"/>
                </a:solidFill>
                <a:cs typeface="Calibri"/>
              </a:rPr>
              <a:t>»</a:t>
            </a:r>
            <a:r>
              <a:rPr lang="ru-RU" b="1" dirty="0">
                <a:solidFill>
                  <a:srgbClr val="002060"/>
                </a:solidFill>
                <a:cs typeface="Calibri"/>
              </a:rPr>
              <a:t>: </a:t>
            </a:r>
          </a:p>
          <a:p>
            <a:pPr marR="6350" algn="ctr">
              <a:lnSpc>
                <a:spcPct val="100099"/>
              </a:lnSpc>
            </a:pPr>
            <a:r>
              <a:rPr lang="ru-RU" b="1" dirty="0">
                <a:solidFill>
                  <a:srgbClr val="C00000"/>
                </a:solidFill>
                <a:cs typeface="Calibri"/>
              </a:rPr>
              <a:t>метапредметные аспекты</a:t>
            </a:r>
            <a:endParaRPr lang="ru-RU" dirty="0">
              <a:solidFill>
                <a:srgbClr val="C00000"/>
              </a:solidFill>
              <a:cs typeface="Calibri"/>
            </a:endParaRPr>
          </a:p>
          <a:p>
            <a:pPr algn="ctr"/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154315" y="1219504"/>
            <a:ext cx="5146879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i="1" dirty="0"/>
              <a:t>Глава 7. Задачи и технологии их решения </a:t>
            </a:r>
          </a:p>
          <a:p>
            <a:r>
              <a:rPr lang="ru-RU" sz="2000" dirty="0"/>
              <a:t>§.16. Учимся читать</a:t>
            </a:r>
          </a:p>
          <a:p>
            <a:r>
              <a:rPr lang="ru-RU" sz="2000" dirty="0"/>
              <a:t>§.17. Учимся обозначать</a:t>
            </a:r>
          </a:p>
          <a:p>
            <a:r>
              <a:rPr lang="ru-RU" sz="2000" dirty="0"/>
              <a:t>§.18. Учимся думать</a:t>
            </a:r>
          </a:p>
          <a:p>
            <a:r>
              <a:rPr lang="ru-RU" sz="2000" dirty="0"/>
              <a:t>§.19. Учимся запоминать</a:t>
            </a:r>
          </a:p>
          <a:p>
            <a:r>
              <a:rPr lang="ru-RU" sz="2000" dirty="0"/>
              <a:t>§.20. Учимся представлять информацию</a:t>
            </a:r>
          </a:p>
          <a:p>
            <a:r>
              <a:rPr lang="ru-RU" sz="2000" dirty="0"/>
              <a:t>§.21. Учимся писать</a:t>
            </a:r>
          </a:p>
          <a:p>
            <a:r>
              <a:rPr lang="ru-RU" sz="2000" dirty="0"/>
              <a:t>§.22. Учимся общаться</a:t>
            </a:r>
          </a:p>
          <a:p>
            <a:r>
              <a:rPr lang="ru-RU" sz="2000" dirty="0"/>
              <a:t>§.23. Учимся решать задачи</a:t>
            </a:r>
          </a:p>
          <a:p>
            <a:r>
              <a:rPr lang="ru-RU" sz="2000" dirty="0"/>
              <a:t>§.24. Учимся исследовать</a:t>
            </a:r>
          </a:p>
          <a:p>
            <a:r>
              <a:rPr lang="ru-RU" sz="2000" dirty="0"/>
              <a:t>§.25. Учимся работать над проектом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54315" y="5097489"/>
            <a:ext cx="695531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i="1" dirty="0"/>
              <a:t>Глава 6. Основы </a:t>
            </a:r>
          </a:p>
          <a:p>
            <a:r>
              <a:rPr lang="ru-RU" sz="2000" b="1" i="1" dirty="0"/>
              <a:t>информационно-когнитивных технологий</a:t>
            </a:r>
          </a:p>
          <a:p>
            <a:r>
              <a:rPr lang="ru-RU" sz="2000" dirty="0"/>
              <a:t>§.22. Данные, информация, знание </a:t>
            </a:r>
          </a:p>
          <a:p>
            <a:r>
              <a:rPr lang="ru-RU" sz="2000" dirty="0"/>
              <a:t>§.23. Информационные процессы и ресурсы</a:t>
            </a:r>
          </a:p>
          <a:p>
            <a:r>
              <a:rPr lang="ru-RU" sz="2000" dirty="0"/>
              <a:t>§.24. Формализация и моделирование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54317" y="819394"/>
            <a:ext cx="15914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C00000"/>
                </a:solidFill>
              </a:rPr>
              <a:t>5-6 класс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27586" y="4697379"/>
            <a:ext cx="15914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C00000"/>
                </a:solidFill>
              </a:rPr>
              <a:t>7-9 класс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352880" y="111017"/>
            <a:ext cx="2776013" cy="46166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square" rtlCol="0">
            <a:spAutoFit/>
          </a:bodyPr>
          <a:lstStyle/>
          <a:p>
            <a:pPr algn="ctr"/>
            <a:r>
              <a:rPr lang="ru-RU" sz="1200" dirty="0"/>
              <a:t>Внутренняя структура учебного занятия</a:t>
            </a:r>
          </a:p>
          <a:p>
            <a:pPr algn="ctr"/>
            <a:r>
              <a:rPr lang="ru-RU" sz="1200" dirty="0"/>
              <a:t>(традиционная в рамках ФГОС)</a:t>
            </a:r>
          </a:p>
        </p:txBody>
      </p:sp>
      <p:sp>
        <p:nvSpPr>
          <p:cNvPr id="6" name="Выноска со стрелкой влево 5"/>
          <p:cNvSpPr/>
          <p:nvPr/>
        </p:nvSpPr>
        <p:spPr>
          <a:xfrm>
            <a:off x="3516638" y="4306530"/>
            <a:ext cx="3592988" cy="1385382"/>
          </a:xfrm>
          <a:prstGeom prst="leftArrowCallout">
            <a:avLst>
              <a:gd name="adj1" fmla="val 25000"/>
              <a:gd name="adj2" fmla="val 25000"/>
              <a:gd name="adj3" fmla="val 25000"/>
              <a:gd name="adj4" fmla="val 52203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R="6350" algn="ctr">
              <a:lnSpc>
                <a:spcPct val="100099"/>
              </a:lnSpc>
            </a:pPr>
            <a:r>
              <a:rPr lang="ru-RU" b="1" spc="20" dirty="0">
                <a:solidFill>
                  <a:srgbClr val="C00000"/>
                </a:solidFill>
                <a:cs typeface="Calibri"/>
              </a:rPr>
              <a:t>Метапредметное содержание</a:t>
            </a:r>
          </a:p>
          <a:p>
            <a:pPr marR="6350" algn="ctr">
              <a:lnSpc>
                <a:spcPct val="100099"/>
              </a:lnSpc>
            </a:pPr>
            <a:r>
              <a:rPr lang="ru-RU" b="1" spc="20" dirty="0">
                <a:solidFill>
                  <a:srgbClr val="C00000"/>
                </a:solidFill>
                <a:cs typeface="Calibri"/>
              </a:rPr>
              <a:t>(изучаем технологии «учения»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109625" y="2536815"/>
            <a:ext cx="5019267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Когнитивные информационные и коммуникационные технологии: «</a:t>
            </a:r>
            <a:r>
              <a:rPr lang="ru-RU" sz="1600" dirty="0" err="1"/>
              <a:t>метапознавательные</a:t>
            </a:r>
            <a:r>
              <a:rPr lang="ru-RU" sz="1600" dirty="0"/>
              <a:t>» технологии, представляющие собой процесс сбора, извлечения, представления, хранения, обработки, интерпретации знаний и производства новых знаний, основанные на принципах формализации когнитивных способностей человека, а также совокупность средств, способов, методов, применяемых в образовании с целью управления интеллектуальным (</a:t>
            </a:r>
            <a:r>
              <a:rPr lang="ru-RU" sz="1600" dirty="0" err="1"/>
              <a:t>метапознавательным</a:t>
            </a:r>
            <a:r>
              <a:rPr lang="ru-RU" sz="1600" dirty="0"/>
              <a:t>) развитием обучаемых, в основе которых - формализация когнитивных способностей человека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7236486" y="5374488"/>
            <a:ext cx="472445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Когнитивные методы связанны с механизмом восприятия, обработки и хранения информации человеком, процессом взаимодействия людей с информацией.</a:t>
            </a:r>
          </a:p>
        </p:txBody>
      </p:sp>
    </p:spTree>
    <p:extLst>
      <p:ext uri="{BB962C8B-B14F-4D97-AF65-F5344CB8AC3E}">
        <p14:creationId xmlns:p14="http://schemas.microsoft.com/office/powerpoint/2010/main" val="3882140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9732" y="685799"/>
            <a:ext cx="10752667" cy="732037"/>
          </a:xfrm>
        </p:spPr>
        <p:txBody>
          <a:bodyPr>
            <a:normAutofit fontScale="90000"/>
          </a:bodyPr>
          <a:lstStyle/>
          <a:p>
            <a:r>
              <a:rPr lang="ru-RU" sz="3600" b="1" dirty="0">
                <a:solidFill>
                  <a:srgbClr val="2D2B8D"/>
                </a:solidFill>
              </a:rPr>
              <a:t>                                        Модульный курс</a:t>
            </a:r>
            <a:br>
              <a:rPr lang="ru-RU" sz="3600" b="1" dirty="0">
                <a:solidFill>
                  <a:srgbClr val="2D2B8D"/>
                </a:solidFill>
              </a:rPr>
            </a:br>
            <a:r>
              <a:rPr lang="ru-RU" sz="2700" b="1" dirty="0" err="1">
                <a:solidFill>
                  <a:srgbClr val="2D2B8D"/>
                </a:solidFill>
              </a:rPr>
              <a:t>С.А.Бешенков</a:t>
            </a:r>
            <a:r>
              <a:rPr lang="ru-RU" sz="2700" b="1" dirty="0">
                <a:solidFill>
                  <a:srgbClr val="2D2B8D"/>
                </a:solidFill>
              </a:rPr>
              <a:t>, М.И. </a:t>
            </a:r>
            <a:r>
              <a:rPr lang="ru-RU" sz="2700" b="1" dirty="0" err="1">
                <a:solidFill>
                  <a:srgbClr val="2D2B8D"/>
                </a:solidFill>
              </a:rPr>
              <a:t>Шутикова</a:t>
            </a:r>
            <a:r>
              <a:rPr lang="ru-RU" sz="2700" b="1" dirty="0">
                <a:solidFill>
                  <a:srgbClr val="2D2B8D"/>
                </a:solidFill>
              </a:rPr>
              <a:t>, Э.В. </a:t>
            </a:r>
            <a:r>
              <a:rPr lang="ru-RU" sz="2700" b="1" dirty="0" err="1">
                <a:solidFill>
                  <a:srgbClr val="2D2B8D"/>
                </a:solidFill>
              </a:rPr>
              <a:t>Миндзаева</a:t>
            </a:r>
            <a:r>
              <a:rPr lang="ru-RU" sz="2700" b="1" dirty="0">
                <a:solidFill>
                  <a:srgbClr val="2D2B8D"/>
                </a:solidFill>
              </a:rPr>
              <a:t>, В.И.Филиппов и др</a:t>
            </a:r>
            <a:r>
              <a:rPr lang="ru-RU" sz="3600" b="1" dirty="0">
                <a:solidFill>
                  <a:srgbClr val="2D2B8D"/>
                </a:solidFill>
              </a:rPr>
              <a:t>.</a:t>
            </a:r>
          </a:p>
        </p:txBody>
      </p:sp>
      <p:grpSp>
        <p:nvGrpSpPr>
          <p:cNvPr id="3" name="object 15"/>
          <p:cNvGrpSpPr>
            <a:grpSpLocks noGrp="1"/>
          </p:cNvGrpSpPr>
          <p:nvPr/>
        </p:nvGrpSpPr>
        <p:grpSpPr>
          <a:xfrm>
            <a:off x="609600" y="1600200"/>
            <a:ext cx="10972455" cy="4967215"/>
            <a:chOff x="0" y="2362898"/>
            <a:chExt cx="12163043" cy="4495099"/>
          </a:xfrm>
        </p:grpSpPr>
        <p:pic>
          <p:nvPicPr>
            <p:cNvPr id="5" name="object 16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015995" y="2362898"/>
              <a:ext cx="9147048" cy="4495099"/>
            </a:xfrm>
            <a:prstGeom prst="rect">
              <a:avLst/>
            </a:prstGeom>
          </p:spPr>
        </p:pic>
        <p:pic>
          <p:nvPicPr>
            <p:cNvPr id="6" name="object 17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2362961"/>
              <a:ext cx="1961540" cy="2067179"/>
            </a:xfrm>
            <a:prstGeom prst="rect">
              <a:avLst/>
            </a:prstGeom>
          </p:spPr>
        </p:pic>
      </p:grpSp>
      <p:pic>
        <p:nvPicPr>
          <p:cNvPr id="7" name="object 2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663034" y="3699934"/>
            <a:ext cx="1765966" cy="2145428"/>
          </a:xfrm>
          <a:prstGeom prst="rect">
            <a:avLst/>
          </a:prstGeom>
        </p:spPr>
      </p:pic>
      <p:pic>
        <p:nvPicPr>
          <p:cNvPr id="9" name="object 1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0033393" y="0"/>
            <a:ext cx="2159000" cy="1276350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1285013" y="902759"/>
            <a:ext cx="3586479" cy="1491615"/>
            <a:chOff x="7051040" y="2816301"/>
            <a:chExt cx="3586479" cy="1491615"/>
          </a:xfrm>
        </p:grpSpPr>
        <p:sp>
          <p:nvSpPr>
            <p:cNvPr id="3" name="object 3"/>
            <p:cNvSpPr/>
            <p:nvPr/>
          </p:nvSpPr>
          <p:spPr>
            <a:xfrm>
              <a:off x="7114540" y="2816301"/>
              <a:ext cx="3348990" cy="1200785"/>
            </a:xfrm>
            <a:custGeom>
              <a:avLst/>
              <a:gdLst/>
              <a:ahLst/>
              <a:cxnLst/>
              <a:rect l="l" t="t" r="r" b="b"/>
              <a:pathLst>
                <a:path w="3348990" h="1200785">
                  <a:moveTo>
                    <a:pt x="3348990" y="0"/>
                  </a:moveTo>
                  <a:lnTo>
                    <a:pt x="0" y="0"/>
                  </a:lnTo>
                  <a:lnTo>
                    <a:pt x="0" y="1200327"/>
                  </a:lnTo>
                  <a:lnTo>
                    <a:pt x="3348990" y="1200327"/>
                  </a:lnTo>
                  <a:lnTo>
                    <a:pt x="3348990" y="0"/>
                  </a:lnTo>
                  <a:close/>
                </a:path>
              </a:pathLst>
            </a:custGeom>
            <a:solidFill>
              <a:srgbClr val="DEEBF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" name="object 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081520" y="3281679"/>
              <a:ext cx="3413760" cy="477520"/>
            </a:xfrm>
            <a:prstGeom prst="rect">
              <a:avLst/>
            </a:prstGeom>
          </p:spPr>
        </p:pic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051040" y="3830319"/>
              <a:ext cx="3586479" cy="477519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398893" y="2976244"/>
              <a:ext cx="2818003" cy="338454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734420" y="3162421"/>
              <a:ext cx="148854" cy="96911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830180" y="3162421"/>
              <a:ext cx="148854" cy="96911"/>
            </a:xfrm>
            <a:prstGeom prst="rect">
              <a:avLst/>
            </a:prstGeom>
          </p:spPr>
        </p:pic>
        <p:sp>
          <p:nvSpPr>
            <p:cNvPr id="9" name="object 9"/>
            <p:cNvSpPr/>
            <p:nvPr/>
          </p:nvSpPr>
          <p:spPr>
            <a:xfrm>
              <a:off x="8441309" y="3058159"/>
              <a:ext cx="1654175" cy="121920"/>
            </a:xfrm>
            <a:custGeom>
              <a:avLst/>
              <a:gdLst/>
              <a:ahLst/>
              <a:cxnLst/>
              <a:rect l="l" t="t" r="r" b="b"/>
              <a:pathLst>
                <a:path w="1654175" h="121919">
                  <a:moveTo>
                    <a:pt x="1608836" y="0"/>
                  </a:moveTo>
                  <a:lnTo>
                    <a:pt x="1564640" y="121412"/>
                  </a:lnTo>
                  <a:lnTo>
                    <a:pt x="1653921" y="121412"/>
                  </a:lnTo>
                  <a:lnTo>
                    <a:pt x="1608836" y="0"/>
                  </a:lnTo>
                  <a:close/>
                </a:path>
                <a:path w="1654175" h="121919">
                  <a:moveTo>
                    <a:pt x="44196" y="0"/>
                  </a:moveTo>
                  <a:lnTo>
                    <a:pt x="0" y="121412"/>
                  </a:lnTo>
                  <a:lnTo>
                    <a:pt x="89281" y="121412"/>
                  </a:lnTo>
                  <a:lnTo>
                    <a:pt x="44196" y="0"/>
                  </a:lnTo>
                  <a:close/>
                </a:path>
              </a:pathLst>
            </a:custGeom>
            <a:ln w="10170">
              <a:solidFill>
                <a:srgbClr val="CE95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0" name="object 1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8154030" y="3032119"/>
              <a:ext cx="126629" cy="103007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9046840" y="3027674"/>
              <a:ext cx="191145" cy="235595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461880" y="3027674"/>
              <a:ext cx="191145" cy="235595"/>
            </a:xfrm>
            <a:prstGeom prst="rect">
              <a:avLst/>
            </a:prstGeom>
          </p:spPr>
        </p:pic>
        <p:sp>
          <p:nvSpPr>
            <p:cNvPr id="13" name="object 13"/>
            <p:cNvSpPr/>
            <p:nvPr/>
          </p:nvSpPr>
          <p:spPr>
            <a:xfrm>
              <a:off x="7398893" y="2976244"/>
              <a:ext cx="2818130" cy="338455"/>
            </a:xfrm>
            <a:custGeom>
              <a:avLst/>
              <a:gdLst/>
              <a:ahLst/>
              <a:cxnLst/>
              <a:rect l="l" t="t" r="r" b="b"/>
              <a:pathLst>
                <a:path w="2818129" h="338454">
                  <a:moveTo>
                    <a:pt x="1930527" y="5587"/>
                  </a:moveTo>
                  <a:lnTo>
                    <a:pt x="2190623" y="5587"/>
                  </a:lnTo>
                  <a:lnTo>
                    <a:pt x="2190623" y="60959"/>
                  </a:lnTo>
                  <a:lnTo>
                    <a:pt x="2093722" y="60959"/>
                  </a:lnTo>
                  <a:lnTo>
                    <a:pt x="2093722" y="332866"/>
                  </a:lnTo>
                  <a:lnTo>
                    <a:pt x="2027554" y="332866"/>
                  </a:lnTo>
                  <a:lnTo>
                    <a:pt x="2027554" y="60959"/>
                  </a:lnTo>
                  <a:lnTo>
                    <a:pt x="1930527" y="60959"/>
                  </a:lnTo>
                  <a:lnTo>
                    <a:pt x="1930527" y="5587"/>
                  </a:lnTo>
                  <a:close/>
                </a:path>
                <a:path w="2818129" h="338454">
                  <a:moveTo>
                    <a:pt x="1274572" y="5587"/>
                  </a:moveTo>
                  <a:lnTo>
                    <a:pt x="1519174" y="5587"/>
                  </a:lnTo>
                  <a:lnTo>
                    <a:pt x="1519174" y="60451"/>
                  </a:lnTo>
                  <a:lnTo>
                    <a:pt x="1340611" y="60451"/>
                  </a:lnTo>
                  <a:lnTo>
                    <a:pt x="1340611" y="136397"/>
                  </a:lnTo>
                  <a:lnTo>
                    <a:pt x="1429003" y="136397"/>
                  </a:lnTo>
                  <a:lnTo>
                    <a:pt x="1446526" y="136965"/>
                  </a:lnTo>
                  <a:lnTo>
                    <a:pt x="1489709" y="145287"/>
                  </a:lnTo>
                  <a:lnTo>
                    <a:pt x="1521981" y="167290"/>
                  </a:lnTo>
                  <a:lnTo>
                    <a:pt x="1543732" y="204533"/>
                  </a:lnTo>
                  <a:lnTo>
                    <a:pt x="1548002" y="234822"/>
                  </a:lnTo>
                  <a:lnTo>
                    <a:pt x="1546931" y="250876"/>
                  </a:lnTo>
                  <a:lnTo>
                    <a:pt x="1530857" y="291845"/>
                  </a:lnTo>
                  <a:lnTo>
                    <a:pt x="1502354" y="318867"/>
                  </a:lnTo>
                  <a:lnTo>
                    <a:pt x="1464976" y="330676"/>
                  </a:lnTo>
                  <a:lnTo>
                    <a:pt x="1429003" y="332866"/>
                  </a:lnTo>
                  <a:lnTo>
                    <a:pt x="1274572" y="332866"/>
                  </a:lnTo>
                  <a:lnTo>
                    <a:pt x="1274572" y="5587"/>
                  </a:lnTo>
                  <a:close/>
                </a:path>
                <a:path w="2818129" h="338454">
                  <a:moveTo>
                    <a:pt x="1052449" y="5587"/>
                  </a:moveTo>
                  <a:lnTo>
                    <a:pt x="1122299" y="5587"/>
                  </a:lnTo>
                  <a:lnTo>
                    <a:pt x="1253362" y="332866"/>
                  </a:lnTo>
                  <a:lnTo>
                    <a:pt x="1181480" y="332866"/>
                  </a:lnTo>
                  <a:lnTo>
                    <a:pt x="1152905" y="258571"/>
                  </a:lnTo>
                  <a:lnTo>
                    <a:pt x="1022096" y="258571"/>
                  </a:lnTo>
                  <a:lnTo>
                    <a:pt x="995045" y="332866"/>
                  </a:lnTo>
                  <a:lnTo>
                    <a:pt x="924940" y="332866"/>
                  </a:lnTo>
                  <a:lnTo>
                    <a:pt x="1052449" y="5587"/>
                  </a:lnTo>
                  <a:close/>
                </a:path>
                <a:path w="2818129" h="338454">
                  <a:moveTo>
                    <a:pt x="694054" y="5587"/>
                  </a:moveTo>
                  <a:lnTo>
                    <a:pt x="800100" y="5587"/>
                  </a:lnTo>
                  <a:lnTo>
                    <a:pt x="827653" y="5897"/>
                  </a:lnTo>
                  <a:lnTo>
                    <a:pt x="866947" y="8374"/>
                  </a:lnTo>
                  <a:lnTo>
                    <a:pt x="904557" y="22161"/>
                  </a:lnTo>
                  <a:lnTo>
                    <a:pt x="934090" y="55756"/>
                  </a:lnTo>
                  <a:lnTo>
                    <a:pt x="944752" y="106299"/>
                  </a:lnTo>
                  <a:lnTo>
                    <a:pt x="944082" y="120753"/>
                  </a:lnTo>
                  <a:lnTo>
                    <a:pt x="928020" y="166691"/>
                  </a:lnTo>
                  <a:lnTo>
                    <a:pt x="897588" y="194562"/>
                  </a:lnTo>
                  <a:lnTo>
                    <a:pt x="858585" y="206797"/>
                  </a:lnTo>
                  <a:lnTo>
                    <a:pt x="803275" y="209422"/>
                  </a:lnTo>
                  <a:lnTo>
                    <a:pt x="760222" y="209422"/>
                  </a:lnTo>
                  <a:lnTo>
                    <a:pt x="760222" y="332866"/>
                  </a:lnTo>
                  <a:lnTo>
                    <a:pt x="694054" y="332866"/>
                  </a:lnTo>
                  <a:lnTo>
                    <a:pt x="694054" y="5587"/>
                  </a:lnTo>
                  <a:close/>
                </a:path>
                <a:path w="2818129" h="338454">
                  <a:moveTo>
                    <a:pt x="370331" y="5587"/>
                  </a:moveTo>
                  <a:lnTo>
                    <a:pt x="614933" y="5587"/>
                  </a:lnTo>
                  <a:lnTo>
                    <a:pt x="614933" y="60451"/>
                  </a:lnTo>
                  <a:lnTo>
                    <a:pt x="436372" y="60451"/>
                  </a:lnTo>
                  <a:lnTo>
                    <a:pt x="436372" y="136397"/>
                  </a:lnTo>
                  <a:lnTo>
                    <a:pt x="524763" y="136397"/>
                  </a:lnTo>
                  <a:lnTo>
                    <a:pt x="542286" y="136965"/>
                  </a:lnTo>
                  <a:lnTo>
                    <a:pt x="585470" y="145287"/>
                  </a:lnTo>
                  <a:lnTo>
                    <a:pt x="617741" y="167290"/>
                  </a:lnTo>
                  <a:lnTo>
                    <a:pt x="639492" y="204533"/>
                  </a:lnTo>
                  <a:lnTo>
                    <a:pt x="643762" y="234822"/>
                  </a:lnTo>
                  <a:lnTo>
                    <a:pt x="642691" y="250876"/>
                  </a:lnTo>
                  <a:lnTo>
                    <a:pt x="626617" y="291845"/>
                  </a:lnTo>
                  <a:lnTo>
                    <a:pt x="598114" y="318867"/>
                  </a:lnTo>
                  <a:lnTo>
                    <a:pt x="560736" y="330676"/>
                  </a:lnTo>
                  <a:lnTo>
                    <a:pt x="524763" y="332866"/>
                  </a:lnTo>
                  <a:lnTo>
                    <a:pt x="370331" y="332866"/>
                  </a:lnTo>
                  <a:lnTo>
                    <a:pt x="370331" y="5587"/>
                  </a:lnTo>
                  <a:close/>
                </a:path>
                <a:path w="2818129" h="338454">
                  <a:moveTo>
                    <a:pt x="2487040" y="3301"/>
                  </a:moveTo>
                  <a:lnTo>
                    <a:pt x="2487040" y="52196"/>
                  </a:lnTo>
                  <a:lnTo>
                    <a:pt x="2477642" y="52069"/>
                  </a:lnTo>
                  <a:lnTo>
                    <a:pt x="2468141" y="52379"/>
                  </a:lnTo>
                  <a:lnTo>
                    <a:pt x="2432684" y="72389"/>
                  </a:lnTo>
                  <a:lnTo>
                    <a:pt x="2415539" y="114553"/>
                  </a:lnTo>
                  <a:lnTo>
                    <a:pt x="2412442" y="122676"/>
                  </a:lnTo>
                  <a:lnTo>
                    <a:pt x="2385831" y="159216"/>
                  </a:lnTo>
                  <a:lnTo>
                    <a:pt x="2377566" y="164337"/>
                  </a:lnTo>
                  <a:lnTo>
                    <a:pt x="2388139" y="168267"/>
                  </a:lnTo>
                  <a:lnTo>
                    <a:pt x="2421475" y="199983"/>
                  </a:lnTo>
                  <a:lnTo>
                    <a:pt x="2445638" y="243077"/>
                  </a:lnTo>
                  <a:lnTo>
                    <a:pt x="2489961" y="332104"/>
                  </a:lnTo>
                  <a:lnTo>
                    <a:pt x="2617088" y="5587"/>
                  </a:lnTo>
                  <a:lnTo>
                    <a:pt x="2686938" y="5587"/>
                  </a:lnTo>
                  <a:lnTo>
                    <a:pt x="2818003" y="332866"/>
                  </a:lnTo>
                  <a:lnTo>
                    <a:pt x="2746121" y="332866"/>
                  </a:lnTo>
                  <a:lnTo>
                    <a:pt x="2717546" y="258571"/>
                  </a:lnTo>
                  <a:lnTo>
                    <a:pt x="2586735" y="258571"/>
                  </a:lnTo>
                  <a:lnTo>
                    <a:pt x="2559684" y="332866"/>
                  </a:lnTo>
                  <a:lnTo>
                    <a:pt x="2490342" y="332866"/>
                  </a:lnTo>
                  <a:lnTo>
                    <a:pt x="2489580" y="332866"/>
                  </a:lnTo>
                  <a:lnTo>
                    <a:pt x="2412618" y="332866"/>
                  </a:lnTo>
                  <a:lnTo>
                    <a:pt x="2373629" y="248284"/>
                  </a:lnTo>
                  <a:lnTo>
                    <a:pt x="2372995" y="247014"/>
                  </a:lnTo>
                  <a:lnTo>
                    <a:pt x="2371725" y="244728"/>
                  </a:lnTo>
                  <a:lnTo>
                    <a:pt x="2369820" y="241300"/>
                  </a:lnTo>
                  <a:lnTo>
                    <a:pt x="2369057" y="240156"/>
                  </a:lnTo>
                  <a:lnTo>
                    <a:pt x="2366263" y="234950"/>
                  </a:lnTo>
                  <a:lnTo>
                    <a:pt x="2361564" y="225932"/>
                  </a:lnTo>
                  <a:lnTo>
                    <a:pt x="2355468" y="214979"/>
                  </a:lnTo>
                  <a:lnTo>
                    <a:pt x="2323572" y="190011"/>
                  </a:lnTo>
                  <a:lnTo>
                    <a:pt x="2315717" y="189483"/>
                  </a:lnTo>
                  <a:lnTo>
                    <a:pt x="2315717" y="332866"/>
                  </a:lnTo>
                  <a:lnTo>
                    <a:pt x="2249678" y="332866"/>
                  </a:lnTo>
                  <a:lnTo>
                    <a:pt x="2249678" y="5587"/>
                  </a:lnTo>
                  <a:lnTo>
                    <a:pt x="2315717" y="5587"/>
                  </a:lnTo>
                  <a:lnTo>
                    <a:pt x="2315717" y="144906"/>
                  </a:lnTo>
                  <a:lnTo>
                    <a:pt x="2325883" y="143335"/>
                  </a:lnTo>
                  <a:lnTo>
                    <a:pt x="2355611" y="116204"/>
                  </a:lnTo>
                  <a:lnTo>
                    <a:pt x="2369820" y="82550"/>
                  </a:lnTo>
                  <a:lnTo>
                    <a:pt x="2380108" y="58550"/>
                  </a:lnTo>
                  <a:lnTo>
                    <a:pt x="2400734" y="25507"/>
                  </a:lnTo>
                  <a:lnTo>
                    <a:pt x="2437955" y="6794"/>
                  </a:lnTo>
                  <a:lnTo>
                    <a:pt x="2477388" y="3555"/>
                  </a:lnTo>
                  <a:lnTo>
                    <a:pt x="2478912" y="3555"/>
                  </a:lnTo>
                  <a:lnTo>
                    <a:pt x="2482087" y="3555"/>
                  </a:lnTo>
                  <a:lnTo>
                    <a:pt x="2487040" y="3301"/>
                  </a:lnTo>
                  <a:close/>
                </a:path>
                <a:path w="2818129" h="338454">
                  <a:moveTo>
                    <a:pt x="1743202" y="0"/>
                  </a:moveTo>
                  <a:lnTo>
                    <a:pt x="1808337" y="11223"/>
                  </a:lnTo>
                  <a:lnTo>
                    <a:pt x="1858899" y="44830"/>
                  </a:lnTo>
                  <a:lnTo>
                    <a:pt x="1891474" y="98488"/>
                  </a:lnTo>
                  <a:lnTo>
                    <a:pt x="1902332" y="169671"/>
                  </a:lnTo>
                  <a:lnTo>
                    <a:pt x="1899642" y="207131"/>
                  </a:lnTo>
                  <a:lnTo>
                    <a:pt x="1878115" y="269095"/>
                  </a:lnTo>
                  <a:lnTo>
                    <a:pt x="1835941" y="313219"/>
                  </a:lnTo>
                  <a:lnTo>
                    <a:pt x="1778359" y="335647"/>
                  </a:lnTo>
                  <a:lnTo>
                    <a:pt x="1744090" y="338454"/>
                  </a:lnTo>
                  <a:lnTo>
                    <a:pt x="1709469" y="335668"/>
                  </a:lnTo>
                  <a:lnTo>
                    <a:pt x="1651418" y="313380"/>
                  </a:lnTo>
                  <a:lnTo>
                    <a:pt x="1609177" y="269493"/>
                  </a:lnTo>
                  <a:lnTo>
                    <a:pt x="1587650" y="208152"/>
                  </a:lnTo>
                  <a:lnTo>
                    <a:pt x="1584959" y="171195"/>
                  </a:lnTo>
                  <a:lnTo>
                    <a:pt x="1585890" y="147220"/>
                  </a:lnTo>
                  <a:lnTo>
                    <a:pt x="1593371" y="105223"/>
                  </a:lnTo>
                  <a:lnTo>
                    <a:pt x="1613074" y="63547"/>
                  </a:lnTo>
                  <a:lnTo>
                    <a:pt x="1640230" y="33135"/>
                  </a:lnTo>
                  <a:lnTo>
                    <a:pt x="1672716" y="12953"/>
                  </a:lnTo>
                  <a:lnTo>
                    <a:pt x="1723794" y="809"/>
                  </a:lnTo>
                  <a:lnTo>
                    <a:pt x="1743202" y="0"/>
                  </a:lnTo>
                  <a:close/>
                </a:path>
                <a:path w="2818129" h="338454">
                  <a:moveTo>
                    <a:pt x="158241" y="0"/>
                  </a:moveTo>
                  <a:lnTo>
                    <a:pt x="223377" y="11223"/>
                  </a:lnTo>
                  <a:lnTo>
                    <a:pt x="273938" y="44830"/>
                  </a:lnTo>
                  <a:lnTo>
                    <a:pt x="306514" y="98488"/>
                  </a:lnTo>
                  <a:lnTo>
                    <a:pt x="317373" y="169671"/>
                  </a:lnTo>
                  <a:lnTo>
                    <a:pt x="314682" y="207131"/>
                  </a:lnTo>
                  <a:lnTo>
                    <a:pt x="293155" y="269095"/>
                  </a:lnTo>
                  <a:lnTo>
                    <a:pt x="250981" y="313219"/>
                  </a:lnTo>
                  <a:lnTo>
                    <a:pt x="193399" y="335647"/>
                  </a:lnTo>
                  <a:lnTo>
                    <a:pt x="159130" y="338454"/>
                  </a:lnTo>
                  <a:lnTo>
                    <a:pt x="124509" y="335668"/>
                  </a:lnTo>
                  <a:lnTo>
                    <a:pt x="66458" y="313380"/>
                  </a:lnTo>
                  <a:lnTo>
                    <a:pt x="24217" y="269493"/>
                  </a:lnTo>
                  <a:lnTo>
                    <a:pt x="2690" y="208152"/>
                  </a:lnTo>
                  <a:lnTo>
                    <a:pt x="0" y="171195"/>
                  </a:lnTo>
                  <a:lnTo>
                    <a:pt x="930" y="147220"/>
                  </a:lnTo>
                  <a:lnTo>
                    <a:pt x="8411" y="105223"/>
                  </a:lnTo>
                  <a:lnTo>
                    <a:pt x="28114" y="63547"/>
                  </a:lnTo>
                  <a:lnTo>
                    <a:pt x="55270" y="33135"/>
                  </a:lnTo>
                  <a:lnTo>
                    <a:pt x="87756" y="12953"/>
                  </a:lnTo>
                  <a:lnTo>
                    <a:pt x="138834" y="809"/>
                  </a:lnTo>
                  <a:lnTo>
                    <a:pt x="158241" y="0"/>
                  </a:lnTo>
                  <a:close/>
                </a:path>
              </a:pathLst>
            </a:custGeom>
            <a:ln w="10170">
              <a:solidFill>
                <a:srgbClr val="CE95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4" name="object 14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7347204" y="3524884"/>
              <a:ext cx="2963799" cy="404240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9994768" y="3711061"/>
              <a:ext cx="148727" cy="96911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8377677" y="3710045"/>
              <a:ext cx="149997" cy="97673"/>
            </a:xfrm>
            <a:prstGeom prst="rect">
              <a:avLst/>
            </a:prstGeom>
          </p:spPr>
        </p:pic>
        <p:pic>
          <p:nvPicPr>
            <p:cNvPr id="17" name="object 17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767950" y="3580759"/>
              <a:ext cx="126629" cy="103007"/>
            </a:xfrm>
            <a:prstGeom prst="rect">
              <a:avLst/>
            </a:prstGeom>
          </p:spPr>
        </p:pic>
        <p:pic>
          <p:nvPicPr>
            <p:cNvPr id="18" name="object 18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7439020" y="3580251"/>
              <a:ext cx="134503" cy="227721"/>
            </a:xfrm>
            <a:prstGeom prst="rect">
              <a:avLst/>
            </a:prstGeom>
          </p:spPr>
        </p:pic>
        <p:pic>
          <p:nvPicPr>
            <p:cNvPr id="19" name="object 19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8377677" y="3579870"/>
              <a:ext cx="137932" cy="85862"/>
            </a:xfrm>
            <a:prstGeom prst="rect">
              <a:avLst/>
            </a:prstGeom>
          </p:spPr>
        </p:pic>
        <p:sp>
          <p:nvSpPr>
            <p:cNvPr id="20" name="object 20"/>
            <p:cNvSpPr/>
            <p:nvPr/>
          </p:nvSpPr>
          <p:spPr>
            <a:xfrm>
              <a:off x="7347204" y="3524884"/>
              <a:ext cx="2964180" cy="404495"/>
            </a:xfrm>
            <a:custGeom>
              <a:avLst/>
              <a:gdLst/>
              <a:ahLst/>
              <a:cxnLst/>
              <a:rect l="l" t="t" r="r" b="b"/>
              <a:pathLst>
                <a:path w="2964179" h="404495">
                  <a:moveTo>
                    <a:pt x="2897759" y="5587"/>
                  </a:moveTo>
                  <a:lnTo>
                    <a:pt x="2963799" y="5587"/>
                  </a:lnTo>
                  <a:lnTo>
                    <a:pt x="2963799" y="332866"/>
                  </a:lnTo>
                  <a:lnTo>
                    <a:pt x="2897759" y="332866"/>
                  </a:lnTo>
                  <a:lnTo>
                    <a:pt x="2897759" y="5587"/>
                  </a:lnTo>
                  <a:close/>
                </a:path>
                <a:path w="2964179" h="404495">
                  <a:moveTo>
                    <a:pt x="2586481" y="5587"/>
                  </a:moveTo>
                  <a:lnTo>
                    <a:pt x="2652649" y="5587"/>
                  </a:lnTo>
                  <a:lnTo>
                    <a:pt x="2652649" y="136397"/>
                  </a:lnTo>
                  <a:lnTo>
                    <a:pt x="2741041" y="136397"/>
                  </a:lnTo>
                  <a:lnTo>
                    <a:pt x="2787814" y="141755"/>
                  </a:lnTo>
                  <a:lnTo>
                    <a:pt x="2823972" y="159162"/>
                  </a:lnTo>
                  <a:lnTo>
                    <a:pt x="2850102" y="192496"/>
                  </a:lnTo>
                  <a:lnTo>
                    <a:pt x="2859531" y="235965"/>
                  </a:lnTo>
                  <a:lnTo>
                    <a:pt x="2858438" y="252041"/>
                  </a:lnTo>
                  <a:lnTo>
                    <a:pt x="2842132" y="293242"/>
                  </a:lnTo>
                  <a:lnTo>
                    <a:pt x="2813825" y="320085"/>
                  </a:lnTo>
                  <a:lnTo>
                    <a:pt x="2777124" y="330882"/>
                  </a:lnTo>
                  <a:lnTo>
                    <a:pt x="2741041" y="332866"/>
                  </a:lnTo>
                  <a:lnTo>
                    <a:pt x="2586481" y="332866"/>
                  </a:lnTo>
                  <a:lnTo>
                    <a:pt x="2586481" y="5587"/>
                  </a:lnTo>
                  <a:close/>
                </a:path>
                <a:path w="2964179" h="404495">
                  <a:moveTo>
                    <a:pt x="2259838" y="5587"/>
                  </a:moveTo>
                  <a:lnTo>
                    <a:pt x="2325878" y="5587"/>
                  </a:lnTo>
                  <a:lnTo>
                    <a:pt x="2325878" y="134365"/>
                  </a:lnTo>
                  <a:lnTo>
                    <a:pt x="2455418" y="134365"/>
                  </a:lnTo>
                  <a:lnTo>
                    <a:pt x="2455418" y="5587"/>
                  </a:lnTo>
                  <a:lnTo>
                    <a:pt x="2521457" y="5587"/>
                  </a:lnTo>
                  <a:lnTo>
                    <a:pt x="2521457" y="332866"/>
                  </a:lnTo>
                  <a:lnTo>
                    <a:pt x="2455418" y="332866"/>
                  </a:lnTo>
                  <a:lnTo>
                    <a:pt x="2455418" y="189737"/>
                  </a:lnTo>
                  <a:lnTo>
                    <a:pt x="2325878" y="189737"/>
                  </a:lnTo>
                  <a:lnTo>
                    <a:pt x="2325878" y="332866"/>
                  </a:lnTo>
                  <a:lnTo>
                    <a:pt x="2259838" y="332866"/>
                  </a:lnTo>
                  <a:lnTo>
                    <a:pt x="2259838" y="5587"/>
                  </a:lnTo>
                  <a:close/>
                </a:path>
                <a:path w="2964179" h="404495">
                  <a:moveTo>
                    <a:pt x="1945513" y="5587"/>
                  </a:moveTo>
                  <a:lnTo>
                    <a:pt x="2007362" y="5587"/>
                  </a:lnTo>
                  <a:lnTo>
                    <a:pt x="2007362" y="223519"/>
                  </a:lnTo>
                  <a:lnTo>
                    <a:pt x="2139950" y="5587"/>
                  </a:lnTo>
                  <a:lnTo>
                    <a:pt x="2205863" y="5587"/>
                  </a:lnTo>
                  <a:lnTo>
                    <a:pt x="2205863" y="332866"/>
                  </a:lnTo>
                  <a:lnTo>
                    <a:pt x="2144014" y="332866"/>
                  </a:lnTo>
                  <a:lnTo>
                    <a:pt x="2144014" y="119252"/>
                  </a:lnTo>
                  <a:lnTo>
                    <a:pt x="2011679" y="332866"/>
                  </a:lnTo>
                  <a:lnTo>
                    <a:pt x="1945513" y="332866"/>
                  </a:lnTo>
                  <a:lnTo>
                    <a:pt x="1945513" y="5587"/>
                  </a:lnTo>
                  <a:close/>
                </a:path>
                <a:path w="2964179" h="404495">
                  <a:moveTo>
                    <a:pt x="1304544" y="5587"/>
                  </a:moveTo>
                  <a:lnTo>
                    <a:pt x="1547241" y="5587"/>
                  </a:lnTo>
                  <a:lnTo>
                    <a:pt x="1547241" y="60960"/>
                  </a:lnTo>
                  <a:lnTo>
                    <a:pt x="1370711" y="60960"/>
                  </a:lnTo>
                  <a:lnTo>
                    <a:pt x="1370711" y="133476"/>
                  </a:lnTo>
                  <a:lnTo>
                    <a:pt x="1534922" y="133476"/>
                  </a:lnTo>
                  <a:lnTo>
                    <a:pt x="1534922" y="188594"/>
                  </a:lnTo>
                  <a:lnTo>
                    <a:pt x="1370711" y="188594"/>
                  </a:lnTo>
                  <a:lnTo>
                    <a:pt x="1370711" y="277748"/>
                  </a:lnTo>
                  <a:lnTo>
                    <a:pt x="1553464" y="277748"/>
                  </a:lnTo>
                  <a:lnTo>
                    <a:pt x="1553464" y="332866"/>
                  </a:lnTo>
                  <a:lnTo>
                    <a:pt x="1304544" y="332866"/>
                  </a:lnTo>
                  <a:lnTo>
                    <a:pt x="1304544" y="5587"/>
                  </a:lnTo>
                  <a:close/>
                </a:path>
                <a:path w="2964179" h="404495">
                  <a:moveTo>
                    <a:pt x="969518" y="5587"/>
                  </a:moveTo>
                  <a:lnTo>
                    <a:pt x="1100327" y="5587"/>
                  </a:lnTo>
                  <a:lnTo>
                    <a:pt x="1118520" y="5780"/>
                  </a:lnTo>
                  <a:lnTo>
                    <a:pt x="1158240" y="8762"/>
                  </a:lnTo>
                  <a:lnTo>
                    <a:pt x="1199618" y="27922"/>
                  </a:lnTo>
                  <a:lnTo>
                    <a:pt x="1225089" y="67786"/>
                  </a:lnTo>
                  <a:lnTo>
                    <a:pt x="1227581" y="88010"/>
                  </a:lnTo>
                  <a:lnTo>
                    <a:pt x="1226798" y="99224"/>
                  </a:lnTo>
                  <a:lnTo>
                    <a:pt x="1208397" y="139180"/>
                  </a:lnTo>
                  <a:lnTo>
                    <a:pt x="1181607" y="159003"/>
                  </a:lnTo>
                  <a:lnTo>
                    <a:pt x="1195703" y="164074"/>
                  </a:lnTo>
                  <a:lnTo>
                    <a:pt x="1227581" y="188594"/>
                  </a:lnTo>
                  <a:lnTo>
                    <a:pt x="1242691" y="224278"/>
                  </a:lnTo>
                  <a:lnTo>
                    <a:pt x="1243711" y="237997"/>
                  </a:lnTo>
                  <a:lnTo>
                    <a:pt x="1243048" y="249070"/>
                  </a:lnTo>
                  <a:lnTo>
                    <a:pt x="1227603" y="291459"/>
                  </a:lnTo>
                  <a:lnTo>
                    <a:pt x="1195425" y="320776"/>
                  </a:lnTo>
                  <a:lnTo>
                    <a:pt x="1149459" y="331438"/>
                  </a:lnTo>
                  <a:lnTo>
                    <a:pt x="1109593" y="332581"/>
                  </a:lnTo>
                  <a:lnTo>
                    <a:pt x="1080897" y="332866"/>
                  </a:lnTo>
                  <a:lnTo>
                    <a:pt x="969518" y="332866"/>
                  </a:lnTo>
                  <a:lnTo>
                    <a:pt x="969518" y="5587"/>
                  </a:lnTo>
                  <a:close/>
                </a:path>
                <a:path w="2964179" h="404495">
                  <a:moveTo>
                    <a:pt x="664464" y="5587"/>
                  </a:moveTo>
                  <a:lnTo>
                    <a:pt x="907161" y="5587"/>
                  </a:lnTo>
                  <a:lnTo>
                    <a:pt x="907161" y="60960"/>
                  </a:lnTo>
                  <a:lnTo>
                    <a:pt x="730630" y="60960"/>
                  </a:lnTo>
                  <a:lnTo>
                    <a:pt x="730630" y="133476"/>
                  </a:lnTo>
                  <a:lnTo>
                    <a:pt x="894842" y="133476"/>
                  </a:lnTo>
                  <a:lnTo>
                    <a:pt x="894842" y="188594"/>
                  </a:lnTo>
                  <a:lnTo>
                    <a:pt x="730630" y="188594"/>
                  </a:lnTo>
                  <a:lnTo>
                    <a:pt x="730630" y="277748"/>
                  </a:lnTo>
                  <a:lnTo>
                    <a:pt x="913384" y="277748"/>
                  </a:lnTo>
                  <a:lnTo>
                    <a:pt x="913384" y="332866"/>
                  </a:lnTo>
                  <a:lnTo>
                    <a:pt x="664464" y="332866"/>
                  </a:lnTo>
                  <a:lnTo>
                    <a:pt x="664464" y="5587"/>
                  </a:lnTo>
                  <a:close/>
                </a:path>
                <a:path w="2964179" h="404495">
                  <a:moveTo>
                    <a:pt x="359664" y="5587"/>
                  </a:moveTo>
                  <a:lnTo>
                    <a:pt x="465709" y="5587"/>
                  </a:lnTo>
                  <a:lnTo>
                    <a:pt x="493262" y="5897"/>
                  </a:lnTo>
                  <a:lnTo>
                    <a:pt x="532556" y="8374"/>
                  </a:lnTo>
                  <a:lnTo>
                    <a:pt x="570166" y="22161"/>
                  </a:lnTo>
                  <a:lnTo>
                    <a:pt x="599699" y="55756"/>
                  </a:lnTo>
                  <a:lnTo>
                    <a:pt x="610362" y="106298"/>
                  </a:lnTo>
                  <a:lnTo>
                    <a:pt x="609691" y="120753"/>
                  </a:lnTo>
                  <a:lnTo>
                    <a:pt x="593629" y="166691"/>
                  </a:lnTo>
                  <a:lnTo>
                    <a:pt x="563197" y="194562"/>
                  </a:lnTo>
                  <a:lnTo>
                    <a:pt x="524194" y="206797"/>
                  </a:lnTo>
                  <a:lnTo>
                    <a:pt x="468884" y="209422"/>
                  </a:lnTo>
                  <a:lnTo>
                    <a:pt x="425830" y="209422"/>
                  </a:lnTo>
                  <a:lnTo>
                    <a:pt x="425830" y="332866"/>
                  </a:lnTo>
                  <a:lnTo>
                    <a:pt x="359664" y="332866"/>
                  </a:lnTo>
                  <a:lnTo>
                    <a:pt x="359664" y="5587"/>
                  </a:lnTo>
                  <a:close/>
                </a:path>
                <a:path w="2964179" h="404495">
                  <a:moveTo>
                    <a:pt x="60960" y="5587"/>
                  </a:moveTo>
                  <a:lnTo>
                    <a:pt x="287020" y="5587"/>
                  </a:lnTo>
                  <a:lnTo>
                    <a:pt x="287020" y="278002"/>
                  </a:lnTo>
                  <a:lnTo>
                    <a:pt x="315849" y="278002"/>
                  </a:lnTo>
                  <a:lnTo>
                    <a:pt x="315849" y="404240"/>
                  </a:lnTo>
                  <a:lnTo>
                    <a:pt x="260985" y="404240"/>
                  </a:lnTo>
                  <a:lnTo>
                    <a:pt x="260985" y="332866"/>
                  </a:lnTo>
                  <a:lnTo>
                    <a:pt x="54864" y="332866"/>
                  </a:lnTo>
                  <a:lnTo>
                    <a:pt x="54864" y="404240"/>
                  </a:lnTo>
                  <a:lnTo>
                    <a:pt x="0" y="404240"/>
                  </a:lnTo>
                  <a:lnTo>
                    <a:pt x="0" y="278002"/>
                  </a:lnTo>
                  <a:lnTo>
                    <a:pt x="27686" y="278002"/>
                  </a:lnTo>
                  <a:lnTo>
                    <a:pt x="36945" y="256119"/>
                  </a:lnTo>
                  <a:lnTo>
                    <a:pt x="50367" y="207351"/>
                  </a:lnTo>
                  <a:lnTo>
                    <a:pt x="57316" y="150913"/>
                  </a:lnTo>
                  <a:lnTo>
                    <a:pt x="60555" y="80758"/>
                  </a:lnTo>
                  <a:lnTo>
                    <a:pt x="60960" y="40131"/>
                  </a:lnTo>
                  <a:lnTo>
                    <a:pt x="60960" y="5587"/>
                  </a:lnTo>
                  <a:close/>
                </a:path>
                <a:path w="2964179" h="404495">
                  <a:moveTo>
                    <a:pt x="1750949" y="0"/>
                  </a:moveTo>
                  <a:lnTo>
                    <a:pt x="1805336" y="8874"/>
                  </a:lnTo>
                  <a:lnTo>
                    <a:pt x="1848485" y="35560"/>
                  </a:lnTo>
                  <a:lnTo>
                    <a:pt x="1875702" y="77279"/>
                  </a:lnTo>
                  <a:lnTo>
                    <a:pt x="1882013" y="95757"/>
                  </a:lnTo>
                  <a:lnTo>
                    <a:pt x="1816480" y="111378"/>
                  </a:lnTo>
                  <a:lnTo>
                    <a:pt x="1812817" y="99357"/>
                  </a:lnTo>
                  <a:lnTo>
                    <a:pt x="1807559" y="88645"/>
                  </a:lnTo>
                  <a:lnTo>
                    <a:pt x="1771935" y="60166"/>
                  </a:lnTo>
                  <a:lnTo>
                    <a:pt x="1747520" y="56514"/>
                  </a:lnTo>
                  <a:lnTo>
                    <a:pt x="1730184" y="58136"/>
                  </a:lnTo>
                  <a:lnTo>
                    <a:pt x="1688465" y="82550"/>
                  </a:lnTo>
                  <a:lnTo>
                    <a:pt x="1671494" y="116855"/>
                  </a:lnTo>
                  <a:lnTo>
                    <a:pt x="1665859" y="167258"/>
                  </a:lnTo>
                  <a:lnTo>
                    <a:pt x="1667261" y="196000"/>
                  </a:lnTo>
                  <a:lnTo>
                    <a:pt x="1678449" y="240196"/>
                  </a:lnTo>
                  <a:lnTo>
                    <a:pt x="1713849" y="275367"/>
                  </a:lnTo>
                  <a:lnTo>
                    <a:pt x="1746250" y="281939"/>
                  </a:lnTo>
                  <a:lnTo>
                    <a:pt x="1758942" y="280892"/>
                  </a:lnTo>
                  <a:lnTo>
                    <a:pt x="1800371" y="255601"/>
                  </a:lnTo>
                  <a:lnTo>
                    <a:pt x="1818767" y="212470"/>
                  </a:lnTo>
                  <a:lnTo>
                    <a:pt x="1882902" y="232790"/>
                  </a:lnTo>
                  <a:lnTo>
                    <a:pt x="1863248" y="279558"/>
                  </a:lnTo>
                  <a:lnTo>
                    <a:pt x="1833879" y="312419"/>
                  </a:lnTo>
                  <a:lnTo>
                    <a:pt x="1795002" y="331962"/>
                  </a:lnTo>
                  <a:lnTo>
                    <a:pt x="1746885" y="338454"/>
                  </a:lnTo>
                  <a:lnTo>
                    <a:pt x="1715760" y="335668"/>
                  </a:lnTo>
                  <a:lnTo>
                    <a:pt x="1662177" y="313380"/>
                  </a:lnTo>
                  <a:lnTo>
                    <a:pt x="1621361" y="269561"/>
                  </a:lnTo>
                  <a:lnTo>
                    <a:pt x="1600406" y="208688"/>
                  </a:lnTo>
                  <a:lnTo>
                    <a:pt x="1597787" y="172084"/>
                  </a:lnTo>
                  <a:lnTo>
                    <a:pt x="1600428" y="133508"/>
                  </a:lnTo>
                  <a:lnTo>
                    <a:pt x="1621522" y="70072"/>
                  </a:lnTo>
                  <a:lnTo>
                    <a:pt x="1662741" y="25449"/>
                  </a:lnTo>
                  <a:lnTo>
                    <a:pt x="1718228" y="2831"/>
                  </a:lnTo>
                  <a:lnTo>
                    <a:pt x="1750949" y="0"/>
                  </a:lnTo>
                  <a:close/>
                </a:path>
              </a:pathLst>
            </a:custGeom>
            <a:ln w="10170">
              <a:solidFill>
                <a:srgbClr val="CE95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21" name="object 21"/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5528950" y="0"/>
            <a:ext cx="5540831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287904" y="0"/>
            <a:ext cx="6194763" cy="6858000"/>
          </a:xfrm>
          <a:prstGeom prst="rect">
            <a:avLst/>
          </a:prstGeom>
        </p:spPr>
      </p:pic>
      <p:grpSp>
        <p:nvGrpSpPr>
          <p:cNvPr id="3" name="object 3"/>
          <p:cNvGrpSpPr/>
          <p:nvPr/>
        </p:nvGrpSpPr>
        <p:grpSpPr>
          <a:xfrm>
            <a:off x="1882940" y="0"/>
            <a:ext cx="1346835" cy="6858000"/>
            <a:chOff x="147205" y="0"/>
            <a:chExt cx="1346835" cy="6858000"/>
          </a:xfrm>
        </p:grpSpPr>
        <p:sp>
          <p:nvSpPr>
            <p:cNvPr id="4" name="object 4"/>
            <p:cNvSpPr/>
            <p:nvPr/>
          </p:nvSpPr>
          <p:spPr>
            <a:xfrm>
              <a:off x="147205" y="114350"/>
              <a:ext cx="892810" cy="6558915"/>
            </a:xfrm>
            <a:custGeom>
              <a:avLst/>
              <a:gdLst/>
              <a:ahLst/>
              <a:cxnLst/>
              <a:rect l="l" t="t" r="r" b="b"/>
              <a:pathLst>
                <a:path w="892810" h="6558915">
                  <a:moveTo>
                    <a:pt x="892556" y="0"/>
                  </a:moveTo>
                  <a:lnTo>
                    <a:pt x="0" y="0"/>
                  </a:lnTo>
                  <a:lnTo>
                    <a:pt x="0" y="6558915"/>
                  </a:lnTo>
                  <a:lnTo>
                    <a:pt x="892556" y="6558915"/>
                  </a:lnTo>
                  <a:lnTo>
                    <a:pt x="892556" y="0"/>
                  </a:lnTo>
                  <a:close/>
                </a:path>
              </a:pathLst>
            </a:custGeom>
            <a:solidFill>
              <a:srgbClr val="DEEBF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12800" y="0"/>
              <a:ext cx="680719" cy="6858000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52209" y="342138"/>
              <a:ext cx="583984" cy="6080861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21863" y="2258181"/>
              <a:ext cx="136573" cy="212100"/>
            </a:xfrm>
            <a:prstGeom prst="rect">
              <a:avLst/>
            </a:prstGeom>
          </p:spPr>
        </p:pic>
        <p:sp>
          <p:nvSpPr>
            <p:cNvPr id="8" name="object 8"/>
            <p:cNvSpPr/>
            <p:nvPr/>
          </p:nvSpPr>
          <p:spPr>
            <a:xfrm>
              <a:off x="470560" y="1863344"/>
              <a:ext cx="175895" cy="128905"/>
            </a:xfrm>
            <a:custGeom>
              <a:avLst/>
              <a:gdLst/>
              <a:ahLst/>
              <a:cxnLst/>
              <a:rect l="l" t="t" r="r" b="b"/>
              <a:pathLst>
                <a:path w="175895" h="128905">
                  <a:moveTo>
                    <a:pt x="0" y="65150"/>
                  </a:moveTo>
                  <a:lnTo>
                    <a:pt x="175412" y="128904"/>
                  </a:lnTo>
                  <a:lnTo>
                    <a:pt x="175412" y="0"/>
                  </a:lnTo>
                  <a:lnTo>
                    <a:pt x="0" y="65150"/>
                  </a:lnTo>
                  <a:close/>
                </a:path>
              </a:pathLst>
            </a:custGeom>
            <a:ln w="10170">
              <a:solidFill>
                <a:srgbClr val="CE95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35160" y="3236970"/>
              <a:ext cx="144307" cy="178445"/>
            </a:xfrm>
            <a:prstGeom prst="rect">
              <a:avLst/>
            </a:prstGeom>
          </p:spPr>
        </p:pic>
        <p:sp>
          <p:nvSpPr>
            <p:cNvPr id="10" name="object 10"/>
            <p:cNvSpPr/>
            <p:nvPr/>
          </p:nvSpPr>
          <p:spPr>
            <a:xfrm>
              <a:off x="439597" y="5085334"/>
              <a:ext cx="314325" cy="179705"/>
            </a:xfrm>
            <a:custGeom>
              <a:avLst/>
              <a:gdLst/>
              <a:ahLst/>
              <a:cxnLst/>
              <a:rect l="l" t="t" r="r" b="b"/>
              <a:pathLst>
                <a:path w="314325" h="179704">
                  <a:moveTo>
                    <a:pt x="0" y="140589"/>
                  </a:moveTo>
                  <a:lnTo>
                    <a:pt x="68557" y="141669"/>
                  </a:lnTo>
                  <a:lnTo>
                    <a:pt x="130631" y="144911"/>
                  </a:lnTo>
                  <a:lnTo>
                    <a:pt x="186221" y="150320"/>
                  </a:lnTo>
                  <a:lnTo>
                    <a:pt x="235327" y="157898"/>
                  </a:lnTo>
                  <a:lnTo>
                    <a:pt x="277948" y="167649"/>
                  </a:lnTo>
                  <a:lnTo>
                    <a:pt x="314083" y="179578"/>
                  </a:lnTo>
                  <a:lnTo>
                    <a:pt x="314083" y="0"/>
                  </a:lnTo>
                  <a:lnTo>
                    <a:pt x="0" y="0"/>
                  </a:lnTo>
                  <a:lnTo>
                    <a:pt x="0" y="140589"/>
                  </a:lnTo>
                  <a:close/>
                </a:path>
              </a:pathLst>
            </a:custGeom>
            <a:ln w="10170">
              <a:solidFill>
                <a:srgbClr val="CE95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1" name="object 11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33865" y="2275580"/>
              <a:ext cx="119491" cy="194701"/>
            </a:xfrm>
            <a:prstGeom prst="rect">
              <a:avLst/>
            </a:prstGeom>
          </p:spPr>
        </p:pic>
        <p:sp>
          <p:nvSpPr>
            <p:cNvPr id="12" name="object 12"/>
            <p:cNvSpPr/>
            <p:nvPr/>
          </p:nvSpPr>
          <p:spPr>
            <a:xfrm>
              <a:off x="352209" y="342138"/>
              <a:ext cx="584200" cy="6081395"/>
            </a:xfrm>
            <a:custGeom>
              <a:avLst/>
              <a:gdLst/>
              <a:ahLst/>
              <a:cxnLst/>
              <a:rect l="l" t="t" r="r" b="b"/>
              <a:pathLst>
                <a:path w="584200" h="6081395">
                  <a:moveTo>
                    <a:pt x="81584" y="2526664"/>
                  </a:moveTo>
                  <a:lnTo>
                    <a:pt x="91701" y="2579989"/>
                  </a:lnTo>
                  <a:lnTo>
                    <a:pt x="122059" y="2621787"/>
                  </a:lnTo>
                  <a:lnTo>
                    <a:pt x="172800" y="2648934"/>
                  </a:lnTo>
                  <a:lnTo>
                    <a:pt x="244106" y="2657982"/>
                  </a:lnTo>
                  <a:lnTo>
                    <a:pt x="281825" y="2655653"/>
                  </a:lnTo>
                  <a:lnTo>
                    <a:pt x="342690" y="2637087"/>
                  </a:lnTo>
                  <a:lnTo>
                    <a:pt x="383964" y="2601085"/>
                  </a:lnTo>
                  <a:lnTo>
                    <a:pt x="404685" y="2553979"/>
                  </a:lnTo>
                  <a:lnTo>
                    <a:pt x="407276" y="2526664"/>
                  </a:lnTo>
                  <a:lnTo>
                    <a:pt x="404706" y="2499449"/>
                  </a:lnTo>
                  <a:lnTo>
                    <a:pt x="384146" y="2452637"/>
                  </a:lnTo>
                  <a:lnTo>
                    <a:pt x="343029" y="2416990"/>
                  </a:lnTo>
                  <a:lnTo>
                    <a:pt x="281359" y="2398650"/>
                  </a:lnTo>
                  <a:lnTo>
                    <a:pt x="242811" y="2396362"/>
                  </a:lnTo>
                  <a:lnTo>
                    <a:pt x="204764" y="2398599"/>
                  </a:lnTo>
                  <a:lnTo>
                    <a:pt x="144143" y="2416454"/>
                  </a:lnTo>
                  <a:lnTo>
                    <a:pt x="104082" y="2451316"/>
                  </a:lnTo>
                  <a:lnTo>
                    <a:pt x="84084" y="2498611"/>
                  </a:lnTo>
                  <a:lnTo>
                    <a:pt x="81584" y="2526664"/>
                  </a:lnTo>
                  <a:close/>
                </a:path>
                <a:path w="584200" h="6081395">
                  <a:moveTo>
                    <a:pt x="81584" y="5310530"/>
                  </a:moveTo>
                  <a:lnTo>
                    <a:pt x="91701" y="5363811"/>
                  </a:lnTo>
                  <a:lnTo>
                    <a:pt x="122059" y="5405653"/>
                  </a:lnTo>
                  <a:lnTo>
                    <a:pt x="172800" y="5432742"/>
                  </a:lnTo>
                  <a:lnTo>
                    <a:pt x="244106" y="5441772"/>
                  </a:lnTo>
                  <a:lnTo>
                    <a:pt x="281825" y="5439453"/>
                  </a:lnTo>
                  <a:lnTo>
                    <a:pt x="342690" y="5420908"/>
                  </a:lnTo>
                  <a:lnTo>
                    <a:pt x="383964" y="5384895"/>
                  </a:lnTo>
                  <a:lnTo>
                    <a:pt x="404685" y="5337817"/>
                  </a:lnTo>
                  <a:lnTo>
                    <a:pt x="407276" y="5310530"/>
                  </a:lnTo>
                  <a:lnTo>
                    <a:pt x="404706" y="5283273"/>
                  </a:lnTo>
                  <a:lnTo>
                    <a:pt x="384146" y="5236469"/>
                  </a:lnTo>
                  <a:lnTo>
                    <a:pt x="343029" y="5200830"/>
                  </a:lnTo>
                  <a:lnTo>
                    <a:pt x="281359" y="5182490"/>
                  </a:lnTo>
                  <a:lnTo>
                    <a:pt x="242811" y="5180202"/>
                  </a:lnTo>
                  <a:lnTo>
                    <a:pt x="204764" y="5182439"/>
                  </a:lnTo>
                  <a:lnTo>
                    <a:pt x="144143" y="5200294"/>
                  </a:lnTo>
                  <a:lnTo>
                    <a:pt x="104082" y="5235163"/>
                  </a:lnTo>
                  <a:lnTo>
                    <a:pt x="84084" y="5282484"/>
                  </a:lnTo>
                  <a:lnTo>
                    <a:pt x="81584" y="5310530"/>
                  </a:lnTo>
                  <a:close/>
                </a:path>
                <a:path w="584200" h="6081395">
                  <a:moveTo>
                    <a:pt x="8064" y="359536"/>
                  </a:moveTo>
                  <a:lnTo>
                    <a:pt x="8064" y="9016"/>
                  </a:lnTo>
                  <a:lnTo>
                    <a:pt x="88036" y="9016"/>
                  </a:lnTo>
                  <a:lnTo>
                    <a:pt x="88036" y="264032"/>
                  </a:lnTo>
                  <a:lnTo>
                    <a:pt x="192836" y="264032"/>
                  </a:lnTo>
                  <a:lnTo>
                    <a:pt x="192836" y="26669"/>
                  </a:lnTo>
                  <a:lnTo>
                    <a:pt x="272478" y="26669"/>
                  </a:lnTo>
                  <a:lnTo>
                    <a:pt x="272478" y="264032"/>
                  </a:lnTo>
                  <a:lnTo>
                    <a:pt x="401142" y="264032"/>
                  </a:lnTo>
                  <a:lnTo>
                    <a:pt x="401142" y="0"/>
                  </a:lnTo>
                  <a:lnTo>
                    <a:pt x="480796" y="0"/>
                  </a:lnTo>
                  <a:lnTo>
                    <a:pt x="480796" y="359536"/>
                  </a:lnTo>
                  <a:lnTo>
                    <a:pt x="8064" y="359536"/>
                  </a:lnTo>
                  <a:close/>
                </a:path>
                <a:path w="584200" h="6081395">
                  <a:moveTo>
                    <a:pt x="8064" y="835659"/>
                  </a:moveTo>
                  <a:lnTo>
                    <a:pt x="8064" y="746378"/>
                  </a:lnTo>
                  <a:lnTo>
                    <a:pt x="322783" y="746378"/>
                  </a:lnTo>
                  <a:lnTo>
                    <a:pt x="8064" y="554862"/>
                  </a:lnTo>
                  <a:lnTo>
                    <a:pt x="8064" y="459739"/>
                  </a:lnTo>
                  <a:lnTo>
                    <a:pt x="480796" y="459739"/>
                  </a:lnTo>
                  <a:lnTo>
                    <a:pt x="480796" y="549020"/>
                  </a:lnTo>
                  <a:lnTo>
                    <a:pt x="172199" y="549020"/>
                  </a:lnTo>
                  <a:lnTo>
                    <a:pt x="480796" y="740282"/>
                  </a:lnTo>
                  <a:lnTo>
                    <a:pt x="480796" y="835659"/>
                  </a:lnTo>
                  <a:lnTo>
                    <a:pt x="8064" y="835659"/>
                  </a:lnTo>
                  <a:close/>
                </a:path>
                <a:path w="584200" h="6081395">
                  <a:moveTo>
                    <a:pt x="8064" y="1314195"/>
                  </a:moveTo>
                  <a:lnTo>
                    <a:pt x="8064" y="1218818"/>
                  </a:lnTo>
                  <a:lnTo>
                    <a:pt x="194119" y="1218818"/>
                  </a:lnTo>
                  <a:lnTo>
                    <a:pt x="194119" y="1031747"/>
                  </a:lnTo>
                  <a:lnTo>
                    <a:pt x="8064" y="1031747"/>
                  </a:lnTo>
                  <a:lnTo>
                    <a:pt x="8064" y="936243"/>
                  </a:lnTo>
                  <a:lnTo>
                    <a:pt x="480796" y="936243"/>
                  </a:lnTo>
                  <a:lnTo>
                    <a:pt x="480796" y="1031747"/>
                  </a:lnTo>
                  <a:lnTo>
                    <a:pt x="274091" y="1031747"/>
                  </a:lnTo>
                  <a:lnTo>
                    <a:pt x="274091" y="1218818"/>
                  </a:lnTo>
                  <a:lnTo>
                    <a:pt x="480796" y="1218818"/>
                  </a:lnTo>
                  <a:lnTo>
                    <a:pt x="480796" y="1314195"/>
                  </a:lnTo>
                  <a:lnTo>
                    <a:pt x="8064" y="1314195"/>
                  </a:lnTo>
                  <a:close/>
                </a:path>
                <a:path w="584200" h="6081395">
                  <a:moveTo>
                    <a:pt x="8064" y="1635632"/>
                  </a:moveTo>
                  <a:lnTo>
                    <a:pt x="8064" y="1534667"/>
                  </a:lnTo>
                  <a:lnTo>
                    <a:pt x="480796" y="1345437"/>
                  </a:lnTo>
                  <a:lnTo>
                    <a:pt x="480796" y="1449323"/>
                  </a:lnTo>
                  <a:lnTo>
                    <a:pt x="373418" y="1490598"/>
                  </a:lnTo>
                  <a:lnTo>
                    <a:pt x="373418" y="1679447"/>
                  </a:lnTo>
                  <a:lnTo>
                    <a:pt x="480796" y="1718563"/>
                  </a:lnTo>
                  <a:lnTo>
                    <a:pt x="480796" y="1819782"/>
                  </a:lnTo>
                  <a:lnTo>
                    <a:pt x="8064" y="1635632"/>
                  </a:lnTo>
                  <a:close/>
                </a:path>
                <a:path w="584200" h="6081395">
                  <a:moveTo>
                    <a:pt x="8064" y="2218435"/>
                  </a:moveTo>
                  <a:lnTo>
                    <a:pt x="8064" y="2029459"/>
                  </a:lnTo>
                  <a:lnTo>
                    <a:pt x="8357" y="2003220"/>
                  </a:lnTo>
                  <a:lnTo>
                    <a:pt x="10695" y="1961362"/>
                  </a:lnTo>
                  <a:lnTo>
                    <a:pt x="19958" y="1919700"/>
                  </a:lnTo>
                  <a:lnTo>
                    <a:pt x="40279" y="1886065"/>
                  </a:lnTo>
                  <a:lnTo>
                    <a:pt x="71755" y="1860168"/>
                  </a:lnTo>
                  <a:lnTo>
                    <a:pt x="112108" y="1846595"/>
                  </a:lnTo>
                  <a:lnTo>
                    <a:pt x="127050" y="1845690"/>
                  </a:lnTo>
                  <a:lnTo>
                    <a:pt x="143317" y="1846810"/>
                  </a:lnTo>
                  <a:lnTo>
                    <a:pt x="187998" y="1863597"/>
                  </a:lnTo>
                  <a:lnTo>
                    <a:pt x="221796" y="1897584"/>
                  </a:lnTo>
                  <a:lnTo>
                    <a:pt x="229590" y="1912111"/>
                  </a:lnTo>
                  <a:lnTo>
                    <a:pt x="236991" y="1891750"/>
                  </a:lnTo>
                  <a:lnTo>
                    <a:pt x="258433" y="1858551"/>
                  </a:lnTo>
                  <a:lnTo>
                    <a:pt x="305452" y="1828260"/>
                  </a:lnTo>
                  <a:lnTo>
                    <a:pt x="343750" y="1822449"/>
                  </a:lnTo>
                  <a:lnTo>
                    <a:pt x="359759" y="1823380"/>
                  </a:lnTo>
                  <a:lnTo>
                    <a:pt x="406463" y="1837435"/>
                  </a:lnTo>
                  <a:lnTo>
                    <a:pt x="445282" y="1866118"/>
                  </a:lnTo>
                  <a:lnTo>
                    <a:pt x="469868" y="1907412"/>
                  </a:lnTo>
                  <a:lnTo>
                    <a:pt x="478737" y="1958586"/>
                  </a:lnTo>
                  <a:lnTo>
                    <a:pt x="480351" y="2016117"/>
                  </a:lnTo>
                  <a:lnTo>
                    <a:pt x="480796" y="2057526"/>
                  </a:lnTo>
                  <a:lnTo>
                    <a:pt x="480796" y="2218435"/>
                  </a:lnTo>
                  <a:lnTo>
                    <a:pt x="8064" y="2218435"/>
                  </a:lnTo>
                  <a:close/>
                </a:path>
                <a:path w="584200" h="6081395">
                  <a:moveTo>
                    <a:pt x="8064" y="3163696"/>
                  </a:moveTo>
                  <a:lnTo>
                    <a:pt x="8064" y="3010534"/>
                  </a:lnTo>
                  <a:lnTo>
                    <a:pt x="8507" y="2970791"/>
                  </a:lnTo>
                  <a:lnTo>
                    <a:pt x="12056" y="2914022"/>
                  </a:lnTo>
                  <a:lnTo>
                    <a:pt x="32048" y="2859674"/>
                  </a:lnTo>
                  <a:lnTo>
                    <a:pt x="61429" y="2828924"/>
                  </a:lnTo>
                  <a:lnTo>
                    <a:pt x="102265" y="2808350"/>
                  </a:lnTo>
                  <a:lnTo>
                    <a:pt x="153492" y="2801492"/>
                  </a:lnTo>
                  <a:lnTo>
                    <a:pt x="174392" y="2802491"/>
                  </a:lnTo>
                  <a:lnTo>
                    <a:pt x="226694" y="2817367"/>
                  </a:lnTo>
                  <a:lnTo>
                    <a:pt x="264028" y="2845853"/>
                  </a:lnTo>
                  <a:lnTo>
                    <a:pt x="287354" y="2882026"/>
                  </a:lnTo>
                  <a:lnTo>
                    <a:pt x="298661" y="2926006"/>
                  </a:lnTo>
                  <a:lnTo>
                    <a:pt x="302052" y="2975484"/>
                  </a:lnTo>
                  <a:lnTo>
                    <a:pt x="302475" y="3005962"/>
                  </a:lnTo>
                  <a:lnTo>
                    <a:pt x="302475" y="3068192"/>
                  </a:lnTo>
                  <a:lnTo>
                    <a:pt x="480796" y="3068192"/>
                  </a:lnTo>
                  <a:lnTo>
                    <a:pt x="480796" y="3163696"/>
                  </a:lnTo>
                  <a:lnTo>
                    <a:pt x="8064" y="3163696"/>
                  </a:lnTo>
                  <a:close/>
                </a:path>
                <a:path w="584200" h="6081395">
                  <a:moveTo>
                    <a:pt x="8064" y="3639819"/>
                  </a:moveTo>
                  <a:lnTo>
                    <a:pt x="8064" y="3550538"/>
                  </a:lnTo>
                  <a:lnTo>
                    <a:pt x="322783" y="3550538"/>
                  </a:lnTo>
                  <a:lnTo>
                    <a:pt x="8064" y="3359022"/>
                  </a:lnTo>
                  <a:lnTo>
                    <a:pt x="8064" y="3263899"/>
                  </a:lnTo>
                  <a:lnTo>
                    <a:pt x="480796" y="3263899"/>
                  </a:lnTo>
                  <a:lnTo>
                    <a:pt x="480796" y="3353180"/>
                  </a:lnTo>
                  <a:lnTo>
                    <a:pt x="172199" y="3353180"/>
                  </a:lnTo>
                  <a:lnTo>
                    <a:pt x="480796" y="3544442"/>
                  </a:lnTo>
                  <a:lnTo>
                    <a:pt x="480796" y="3639819"/>
                  </a:lnTo>
                  <a:lnTo>
                    <a:pt x="8064" y="3639819"/>
                  </a:lnTo>
                  <a:close/>
                </a:path>
                <a:path w="584200" h="6081395">
                  <a:moveTo>
                    <a:pt x="8064" y="4074667"/>
                  </a:moveTo>
                  <a:lnTo>
                    <a:pt x="8064" y="3743451"/>
                  </a:lnTo>
                  <a:lnTo>
                    <a:pt x="480796" y="3743451"/>
                  </a:lnTo>
                  <a:lnTo>
                    <a:pt x="480796" y="3838955"/>
                  </a:lnTo>
                  <a:lnTo>
                    <a:pt x="88036" y="3838955"/>
                  </a:lnTo>
                  <a:lnTo>
                    <a:pt x="88036" y="3981195"/>
                  </a:lnTo>
                  <a:lnTo>
                    <a:pt x="289890" y="3981195"/>
                  </a:lnTo>
                  <a:lnTo>
                    <a:pt x="329990" y="3981553"/>
                  </a:lnTo>
                  <a:lnTo>
                    <a:pt x="390536" y="3984410"/>
                  </a:lnTo>
                  <a:lnTo>
                    <a:pt x="441529" y="3996928"/>
                  </a:lnTo>
                  <a:lnTo>
                    <a:pt x="472901" y="4027971"/>
                  </a:lnTo>
                  <a:lnTo>
                    <a:pt x="483692" y="4085335"/>
                  </a:lnTo>
                  <a:lnTo>
                    <a:pt x="483491" y="4095432"/>
                  </a:lnTo>
                  <a:lnTo>
                    <a:pt x="482888" y="4108957"/>
                  </a:lnTo>
                  <a:lnTo>
                    <a:pt x="481881" y="4125912"/>
                  </a:lnTo>
                  <a:lnTo>
                    <a:pt x="480466" y="4146295"/>
                  </a:lnTo>
                  <a:lnTo>
                    <a:pt x="406628" y="4146295"/>
                  </a:lnTo>
                  <a:lnTo>
                    <a:pt x="406946" y="4124959"/>
                  </a:lnTo>
                  <a:lnTo>
                    <a:pt x="406443" y="4111222"/>
                  </a:lnTo>
                  <a:lnTo>
                    <a:pt x="384937" y="4076922"/>
                  </a:lnTo>
                  <a:lnTo>
                    <a:pt x="359219" y="4074286"/>
                  </a:lnTo>
                  <a:lnTo>
                    <a:pt x="277964" y="4074667"/>
                  </a:lnTo>
                  <a:lnTo>
                    <a:pt x="8064" y="4074667"/>
                  </a:lnTo>
                  <a:close/>
                </a:path>
                <a:path w="584200" h="6081395">
                  <a:moveTo>
                    <a:pt x="8064" y="4545457"/>
                  </a:moveTo>
                  <a:lnTo>
                    <a:pt x="8064" y="4194936"/>
                  </a:lnTo>
                  <a:lnTo>
                    <a:pt x="88036" y="4194936"/>
                  </a:lnTo>
                  <a:lnTo>
                    <a:pt x="88036" y="4449953"/>
                  </a:lnTo>
                  <a:lnTo>
                    <a:pt x="192836" y="4449953"/>
                  </a:lnTo>
                  <a:lnTo>
                    <a:pt x="192836" y="4212589"/>
                  </a:lnTo>
                  <a:lnTo>
                    <a:pt x="272478" y="4212589"/>
                  </a:lnTo>
                  <a:lnTo>
                    <a:pt x="272478" y="4449953"/>
                  </a:lnTo>
                  <a:lnTo>
                    <a:pt x="401142" y="4449953"/>
                  </a:lnTo>
                  <a:lnTo>
                    <a:pt x="401142" y="4185919"/>
                  </a:lnTo>
                  <a:lnTo>
                    <a:pt x="480796" y="4185919"/>
                  </a:lnTo>
                  <a:lnTo>
                    <a:pt x="480796" y="4545457"/>
                  </a:lnTo>
                  <a:lnTo>
                    <a:pt x="8064" y="4545457"/>
                  </a:lnTo>
                  <a:close/>
                </a:path>
                <a:path w="584200" h="6081395">
                  <a:moveTo>
                    <a:pt x="8064" y="4974716"/>
                  </a:moveTo>
                  <a:lnTo>
                    <a:pt x="8064" y="4648072"/>
                  </a:lnTo>
                  <a:lnTo>
                    <a:pt x="401472" y="4648072"/>
                  </a:lnTo>
                  <a:lnTo>
                    <a:pt x="401472" y="4606416"/>
                  </a:lnTo>
                  <a:lnTo>
                    <a:pt x="583984" y="4606416"/>
                  </a:lnTo>
                  <a:lnTo>
                    <a:pt x="583984" y="4685791"/>
                  </a:lnTo>
                  <a:lnTo>
                    <a:pt x="480796" y="4685791"/>
                  </a:lnTo>
                  <a:lnTo>
                    <a:pt x="480796" y="4983480"/>
                  </a:lnTo>
                  <a:lnTo>
                    <a:pt x="583984" y="4983480"/>
                  </a:lnTo>
                  <a:lnTo>
                    <a:pt x="583984" y="5062727"/>
                  </a:lnTo>
                  <a:lnTo>
                    <a:pt x="401472" y="5062727"/>
                  </a:lnTo>
                  <a:lnTo>
                    <a:pt x="401472" y="5022722"/>
                  </a:lnTo>
                  <a:lnTo>
                    <a:pt x="369937" y="5009314"/>
                  </a:lnTo>
                  <a:lnTo>
                    <a:pt x="299561" y="4990022"/>
                  </a:lnTo>
                  <a:lnTo>
                    <a:pt x="260718" y="4984114"/>
                  </a:lnTo>
                  <a:lnTo>
                    <a:pt x="217998" y="4980021"/>
                  </a:lnTo>
                  <a:lnTo>
                    <a:pt x="169981" y="4977082"/>
                  </a:lnTo>
                  <a:lnTo>
                    <a:pt x="116666" y="4975310"/>
                  </a:lnTo>
                  <a:lnTo>
                    <a:pt x="58051" y="4974716"/>
                  </a:lnTo>
                  <a:lnTo>
                    <a:pt x="8064" y="4974716"/>
                  </a:lnTo>
                  <a:close/>
                </a:path>
                <a:path w="584200" h="6081395">
                  <a:moveTo>
                    <a:pt x="8064" y="6080861"/>
                  </a:moveTo>
                  <a:lnTo>
                    <a:pt x="8064" y="5938011"/>
                  </a:lnTo>
                  <a:lnTo>
                    <a:pt x="330530" y="5852236"/>
                  </a:lnTo>
                  <a:lnTo>
                    <a:pt x="8064" y="5767425"/>
                  </a:lnTo>
                  <a:lnTo>
                    <a:pt x="8064" y="5624258"/>
                  </a:lnTo>
                  <a:lnTo>
                    <a:pt x="480796" y="5624258"/>
                  </a:lnTo>
                  <a:lnTo>
                    <a:pt x="480796" y="5712929"/>
                  </a:lnTo>
                  <a:lnTo>
                    <a:pt x="108673" y="5712929"/>
                  </a:lnTo>
                  <a:lnTo>
                    <a:pt x="480796" y="5806770"/>
                  </a:lnTo>
                  <a:lnTo>
                    <a:pt x="480796" y="5898667"/>
                  </a:lnTo>
                  <a:lnTo>
                    <a:pt x="108673" y="5992177"/>
                  </a:lnTo>
                  <a:lnTo>
                    <a:pt x="480796" y="5992177"/>
                  </a:lnTo>
                  <a:lnTo>
                    <a:pt x="480796" y="6080861"/>
                  </a:lnTo>
                  <a:lnTo>
                    <a:pt x="8064" y="6080861"/>
                  </a:lnTo>
                  <a:close/>
                </a:path>
                <a:path w="584200" h="6081395">
                  <a:moveTo>
                    <a:pt x="0" y="2527680"/>
                  </a:moveTo>
                  <a:lnTo>
                    <a:pt x="4050" y="2478008"/>
                  </a:lnTo>
                  <a:lnTo>
                    <a:pt x="16203" y="2433573"/>
                  </a:lnTo>
                  <a:lnTo>
                    <a:pt x="36459" y="2394378"/>
                  </a:lnTo>
                  <a:lnTo>
                    <a:pt x="64820" y="2360421"/>
                  </a:lnTo>
                  <a:lnTo>
                    <a:pt x="100389" y="2332991"/>
                  </a:lnTo>
                  <a:lnTo>
                    <a:pt x="142287" y="2313384"/>
                  </a:lnTo>
                  <a:lnTo>
                    <a:pt x="190515" y="2301611"/>
                  </a:lnTo>
                  <a:lnTo>
                    <a:pt x="245071" y="2297683"/>
                  </a:lnTo>
                  <a:lnTo>
                    <a:pt x="299195" y="2301585"/>
                  </a:lnTo>
                  <a:lnTo>
                    <a:pt x="347092" y="2313273"/>
                  </a:lnTo>
                  <a:lnTo>
                    <a:pt x="388763" y="2332724"/>
                  </a:lnTo>
                  <a:lnTo>
                    <a:pt x="424205" y="2359913"/>
                  </a:lnTo>
                  <a:lnTo>
                    <a:pt x="452484" y="2393680"/>
                  </a:lnTo>
                  <a:lnTo>
                    <a:pt x="472686" y="2432684"/>
                  </a:lnTo>
                  <a:lnTo>
                    <a:pt x="484807" y="2476928"/>
                  </a:lnTo>
                  <a:lnTo>
                    <a:pt x="488848" y="2526410"/>
                  </a:lnTo>
                  <a:lnTo>
                    <a:pt x="484828" y="2576393"/>
                  </a:lnTo>
                  <a:lnTo>
                    <a:pt x="472768" y="2620994"/>
                  </a:lnTo>
                  <a:lnTo>
                    <a:pt x="452667" y="2660213"/>
                  </a:lnTo>
                  <a:lnTo>
                    <a:pt x="424522" y="2694050"/>
                  </a:lnTo>
                  <a:lnTo>
                    <a:pt x="389323" y="2721294"/>
                  </a:lnTo>
                  <a:lnTo>
                    <a:pt x="348057" y="2740739"/>
                  </a:lnTo>
                  <a:lnTo>
                    <a:pt x="300727" y="2752397"/>
                  </a:lnTo>
                  <a:lnTo>
                    <a:pt x="247332" y="2756280"/>
                  </a:lnTo>
                  <a:lnTo>
                    <a:pt x="212666" y="2754925"/>
                  </a:lnTo>
                  <a:lnTo>
                    <a:pt x="152043" y="2744118"/>
                  </a:lnTo>
                  <a:lnTo>
                    <a:pt x="108490" y="2725876"/>
                  </a:lnTo>
                  <a:lnTo>
                    <a:pt x="76081" y="2703865"/>
                  </a:lnTo>
                  <a:lnTo>
                    <a:pt x="47846" y="2676362"/>
                  </a:lnTo>
                  <a:lnTo>
                    <a:pt x="18707" y="2629534"/>
                  </a:lnTo>
                  <a:lnTo>
                    <a:pt x="4676" y="2581989"/>
                  </a:lnTo>
                  <a:lnTo>
                    <a:pt x="0" y="2527680"/>
                  </a:lnTo>
                  <a:close/>
                </a:path>
                <a:path w="584200" h="6081395">
                  <a:moveTo>
                    <a:pt x="0" y="5311495"/>
                  </a:moveTo>
                  <a:lnTo>
                    <a:pt x="4050" y="5261837"/>
                  </a:lnTo>
                  <a:lnTo>
                    <a:pt x="16203" y="5217410"/>
                  </a:lnTo>
                  <a:lnTo>
                    <a:pt x="36459" y="5178218"/>
                  </a:lnTo>
                  <a:lnTo>
                    <a:pt x="64820" y="5144261"/>
                  </a:lnTo>
                  <a:lnTo>
                    <a:pt x="100389" y="5116831"/>
                  </a:lnTo>
                  <a:lnTo>
                    <a:pt x="142287" y="5097224"/>
                  </a:lnTo>
                  <a:lnTo>
                    <a:pt x="190515" y="5085451"/>
                  </a:lnTo>
                  <a:lnTo>
                    <a:pt x="245071" y="5081523"/>
                  </a:lnTo>
                  <a:lnTo>
                    <a:pt x="299195" y="5085425"/>
                  </a:lnTo>
                  <a:lnTo>
                    <a:pt x="347092" y="5097113"/>
                  </a:lnTo>
                  <a:lnTo>
                    <a:pt x="388763" y="5116564"/>
                  </a:lnTo>
                  <a:lnTo>
                    <a:pt x="424205" y="5143753"/>
                  </a:lnTo>
                  <a:lnTo>
                    <a:pt x="452484" y="5177519"/>
                  </a:lnTo>
                  <a:lnTo>
                    <a:pt x="472686" y="5216518"/>
                  </a:lnTo>
                  <a:lnTo>
                    <a:pt x="484807" y="5260747"/>
                  </a:lnTo>
                  <a:lnTo>
                    <a:pt x="488848" y="5310200"/>
                  </a:lnTo>
                  <a:lnTo>
                    <a:pt x="484828" y="5360220"/>
                  </a:lnTo>
                  <a:lnTo>
                    <a:pt x="472768" y="5404840"/>
                  </a:lnTo>
                  <a:lnTo>
                    <a:pt x="452667" y="5444059"/>
                  </a:lnTo>
                  <a:lnTo>
                    <a:pt x="424522" y="5477878"/>
                  </a:lnTo>
                  <a:lnTo>
                    <a:pt x="389323" y="5505107"/>
                  </a:lnTo>
                  <a:lnTo>
                    <a:pt x="348057" y="5524558"/>
                  </a:lnTo>
                  <a:lnTo>
                    <a:pt x="300727" y="5536230"/>
                  </a:lnTo>
                  <a:lnTo>
                    <a:pt x="247332" y="5540120"/>
                  </a:lnTo>
                  <a:lnTo>
                    <a:pt x="212666" y="5538770"/>
                  </a:lnTo>
                  <a:lnTo>
                    <a:pt x="152043" y="5527969"/>
                  </a:lnTo>
                  <a:lnTo>
                    <a:pt x="108490" y="5509717"/>
                  </a:lnTo>
                  <a:lnTo>
                    <a:pt x="76081" y="5487709"/>
                  </a:lnTo>
                  <a:lnTo>
                    <a:pt x="47846" y="5460216"/>
                  </a:lnTo>
                  <a:lnTo>
                    <a:pt x="18707" y="5413387"/>
                  </a:lnTo>
                  <a:lnTo>
                    <a:pt x="4676" y="5365827"/>
                  </a:lnTo>
                  <a:lnTo>
                    <a:pt x="0" y="5311495"/>
                  </a:lnTo>
                  <a:close/>
                </a:path>
              </a:pathLst>
            </a:custGeom>
            <a:ln w="10170">
              <a:solidFill>
                <a:srgbClr val="CE95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object 3"/>
          <p:cNvGrpSpPr/>
          <p:nvPr/>
        </p:nvGrpSpPr>
        <p:grpSpPr>
          <a:xfrm>
            <a:off x="2453647" y="206967"/>
            <a:ext cx="4072254" cy="420370"/>
            <a:chOff x="6745478" y="150748"/>
            <a:chExt cx="4072254" cy="420370"/>
          </a:xfrm>
        </p:grpSpPr>
        <p:pic>
          <p:nvPicPr>
            <p:cNvPr id="4" name="object 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750812" y="156121"/>
              <a:ext cx="4059809" cy="409663"/>
            </a:xfrm>
            <a:prstGeom prst="rect">
              <a:avLst/>
            </a:prstGeom>
          </p:spPr>
        </p:pic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313928" y="280758"/>
              <a:ext cx="141097" cy="153327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233285" y="276847"/>
              <a:ext cx="159054" cy="160540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927721" y="233489"/>
              <a:ext cx="271691" cy="249491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8576310" y="227710"/>
              <a:ext cx="2241423" cy="334771"/>
            </a:xfrm>
            <a:prstGeom prst="rect">
              <a:avLst/>
            </a:prstGeom>
          </p:spPr>
        </p:pic>
        <p:sp>
          <p:nvSpPr>
            <p:cNvPr id="9" name="object 9"/>
            <p:cNvSpPr/>
            <p:nvPr/>
          </p:nvSpPr>
          <p:spPr>
            <a:xfrm>
              <a:off x="6750812" y="156082"/>
              <a:ext cx="1784350" cy="410209"/>
            </a:xfrm>
            <a:custGeom>
              <a:avLst/>
              <a:gdLst/>
              <a:ahLst/>
              <a:cxnLst/>
              <a:rect l="l" t="t" r="r" b="b"/>
              <a:pathLst>
                <a:path w="1784350" h="410209">
                  <a:moveTo>
                    <a:pt x="1070737" y="77216"/>
                  </a:moveTo>
                  <a:lnTo>
                    <a:pt x="1079500" y="77216"/>
                  </a:lnTo>
                  <a:lnTo>
                    <a:pt x="1088136" y="77724"/>
                  </a:lnTo>
                  <a:lnTo>
                    <a:pt x="1096645" y="78994"/>
                  </a:lnTo>
                  <a:lnTo>
                    <a:pt x="1105027" y="80137"/>
                  </a:lnTo>
                  <a:lnTo>
                    <a:pt x="1113028" y="81661"/>
                  </a:lnTo>
                  <a:lnTo>
                    <a:pt x="1120521" y="83693"/>
                  </a:lnTo>
                  <a:lnTo>
                    <a:pt x="1127760" y="85598"/>
                  </a:lnTo>
                  <a:lnTo>
                    <a:pt x="1161542" y="113411"/>
                  </a:lnTo>
                  <a:lnTo>
                    <a:pt x="1162050" y="119761"/>
                  </a:lnTo>
                  <a:lnTo>
                    <a:pt x="1162050" y="123951"/>
                  </a:lnTo>
                  <a:lnTo>
                    <a:pt x="1162050" y="133476"/>
                  </a:lnTo>
                  <a:lnTo>
                    <a:pt x="1160780" y="140208"/>
                  </a:lnTo>
                  <a:lnTo>
                    <a:pt x="1158621" y="144145"/>
                  </a:lnTo>
                  <a:lnTo>
                    <a:pt x="1156462" y="147955"/>
                  </a:lnTo>
                  <a:lnTo>
                    <a:pt x="1153541" y="149987"/>
                  </a:lnTo>
                  <a:lnTo>
                    <a:pt x="1149985" y="149987"/>
                  </a:lnTo>
                  <a:lnTo>
                    <a:pt x="1146175" y="149987"/>
                  </a:lnTo>
                  <a:lnTo>
                    <a:pt x="1142365" y="148717"/>
                  </a:lnTo>
                  <a:lnTo>
                    <a:pt x="1138047" y="146431"/>
                  </a:lnTo>
                  <a:lnTo>
                    <a:pt x="1133983" y="144145"/>
                  </a:lnTo>
                  <a:lnTo>
                    <a:pt x="1128903" y="141605"/>
                  </a:lnTo>
                  <a:lnTo>
                    <a:pt x="1123188" y="138811"/>
                  </a:lnTo>
                  <a:lnTo>
                    <a:pt x="1117600" y="136017"/>
                  </a:lnTo>
                  <a:lnTo>
                    <a:pt x="1110615" y="133350"/>
                  </a:lnTo>
                  <a:lnTo>
                    <a:pt x="1102741" y="131064"/>
                  </a:lnTo>
                  <a:lnTo>
                    <a:pt x="1094867" y="128777"/>
                  </a:lnTo>
                  <a:lnTo>
                    <a:pt x="1085469" y="127635"/>
                  </a:lnTo>
                  <a:lnTo>
                    <a:pt x="1074420" y="127635"/>
                  </a:lnTo>
                  <a:lnTo>
                    <a:pt x="1059180" y="128777"/>
                  </a:lnTo>
                  <a:lnTo>
                    <a:pt x="1017270" y="156718"/>
                  </a:lnTo>
                  <a:lnTo>
                    <a:pt x="1007618" y="201041"/>
                  </a:lnTo>
                  <a:lnTo>
                    <a:pt x="1007872" y="209677"/>
                  </a:lnTo>
                  <a:lnTo>
                    <a:pt x="1019048" y="249174"/>
                  </a:lnTo>
                  <a:lnTo>
                    <a:pt x="1024636" y="255270"/>
                  </a:lnTo>
                  <a:lnTo>
                    <a:pt x="1030224" y="261366"/>
                  </a:lnTo>
                  <a:lnTo>
                    <a:pt x="1037336" y="265938"/>
                  </a:lnTo>
                  <a:lnTo>
                    <a:pt x="1045845" y="268986"/>
                  </a:lnTo>
                  <a:lnTo>
                    <a:pt x="1054227" y="272034"/>
                  </a:lnTo>
                  <a:lnTo>
                    <a:pt x="1064133" y="273558"/>
                  </a:lnTo>
                  <a:lnTo>
                    <a:pt x="1075436" y="273558"/>
                  </a:lnTo>
                  <a:lnTo>
                    <a:pt x="1086739" y="273558"/>
                  </a:lnTo>
                  <a:lnTo>
                    <a:pt x="1096645" y="272288"/>
                  </a:lnTo>
                  <a:lnTo>
                    <a:pt x="1104900" y="269748"/>
                  </a:lnTo>
                  <a:lnTo>
                    <a:pt x="1113155" y="267208"/>
                  </a:lnTo>
                  <a:lnTo>
                    <a:pt x="1146175" y="250063"/>
                  </a:lnTo>
                  <a:lnTo>
                    <a:pt x="1149858" y="248793"/>
                  </a:lnTo>
                  <a:lnTo>
                    <a:pt x="1152652" y="248793"/>
                  </a:lnTo>
                  <a:lnTo>
                    <a:pt x="1154684" y="248793"/>
                  </a:lnTo>
                  <a:lnTo>
                    <a:pt x="1156462" y="249174"/>
                  </a:lnTo>
                  <a:lnTo>
                    <a:pt x="1157605" y="250063"/>
                  </a:lnTo>
                  <a:lnTo>
                    <a:pt x="1159002" y="250825"/>
                  </a:lnTo>
                  <a:lnTo>
                    <a:pt x="1160018" y="252349"/>
                  </a:lnTo>
                  <a:lnTo>
                    <a:pt x="1163320" y="271145"/>
                  </a:lnTo>
                  <a:lnTo>
                    <a:pt x="1163320" y="276479"/>
                  </a:lnTo>
                  <a:lnTo>
                    <a:pt x="1163320" y="280670"/>
                  </a:lnTo>
                  <a:lnTo>
                    <a:pt x="1163193" y="284353"/>
                  </a:lnTo>
                  <a:lnTo>
                    <a:pt x="1162812" y="287147"/>
                  </a:lnTo>
                  <a:lnTo>
                    <a:pt x="1162558" y="290068"/>
                  </a:lnTo>
                  <a:lnTo>
                    <a:pt x="1110869" y="320421"/>
                  </a:lnTo>
                  <a:lnTo>
                    <a:pt x="1072896" y="325501"/>
                  </a:lnTo>
                  <a:lnTo>
                    <a:pt x="1062736" y="325501"/>
                  </a:lnTo>
                  <a:lnTo>
                    <a:pt x="1002411" y="317500"/>
                  </a:lnTo>
                  <a:lnTo>
                    <a:pt x="958342" y="294132"/>
                  </a:lnTo>
                  <a:lnTo>
                    <a:pt x="931418" y="256413"/>
                  </a:lnTo>
                  <a:lnTo>
                    <a:pt x="922274" y="205613"/>
                  </a:lnTo>
                  <a:lnTo>
                    <a:pt x="923036" y="189484"/>
                  </a:lnTo>
                  <a:lnTo>
                    <a:pt x="933450" y="148336"/>
                  </a:lnTo>
                  <a:lnTo>
                    <a:pt x="964311" y="108331"/>
                  </a:lnTo>
                  <a:lnTo>
                    <a:pt x="1011174" y="84836"/>
                  </a:lnTo>
                  <a:lnTo>
                    <a:pt x="1054862" y="77724"/>
                  </a:lnTo>
                  <a:lnTo>
                    <a:pt x="1070737" y="77216"/>
                  </a:lnTo>
                  <a:close/>
                </a:path>
                <a:path w="1784350" h="410209">
                  <a:moveTo>
                    <a:pt x="1663700" y="76962"/>
                  </a:moveTo>
                  <a:lnTo>
                    <a:pt x="1718945" y="86487"/>
                  </a:lnTo>
                  <a:lnTo>
                    <a:pt x="1756156" y="112522"/>
                  </a:lnTo>
                  <a:lnTo>
                    <a:pt x="1777238" y="151130"/>
                  </a:lnTo>
                  <a:lnTo>
                    <a:pt x="1783842" y="198120"/>
                  </a:lnTo>
                  <a:lnTo>
                    <a:pt x="1783207" y="212471"/>
                  </a:lnTo>
                  <a:lnTo>
                    <a:pt x="1775333" y="251206"/>
                  </a:lnTo>
                  <a:lnTo>
                    <a:pt x="1750822" y="291338"/>
                  </a:lnTo>
                  <a:lnTo>
                    <a:pt x="1710309" y="316865"/>
                  </a:lnTo>
                  <a:lnTo>
                    <a:pt x="1655191" y="325755"/>
                  </a:lnTo>
                  <a:lnTo>
                    <a:pt x="1646555" y="325755"/>
                  </a:lnTo>
                  <a:lnTo>
                    <a:pt x="1597279" y="312420"/>
                  </a:lnTo>
                  <a:lnTo>
                    <a:pt x="1570228" y="295275"/>
                  </a:lnTo>
                  <a:lnTo>
                    <a:pt x="1570228" y="399034"/>
                  </a:lnTo>
                  <a:lnTo>
                    <a:pt x="1570228" y="400685"/>
                  </a:lnTo>
                  <a:lnTo>
                    <a:pt x="1569593" y="402209"/>
                  </a:lnTo>
                  <a:lnTo>
                    <a:pt x="1568196" y="403479"/>
                  </a:lnTo>
                  <a:lnTo>
                    <a:pt x="1567053" y="404876"/>
                  </a:lnTo>
                  <a:lnTo>
                    <a:pt x="1564640" y="406019"/>
                  </a:lnTo>
                  <a:lnTo>
                    <a:pt x="1561465" y="406908"/>
                  </a:lnTo>
                  <a:lnTo>
                    <a:pt x="1558417" y="407797"/>
                  </a:lnTo>
                  <a:lnTo>
                    <a:pt x="1554099" y="408432"/>
                  </a:lnTo>
                  <a:lnTo>
                    <a:pt x="1548638" y="408940"/>
                  </a:lnTo>
                  <a:lnTo>
                    <a:pt x="1543431" y="409448"/>
                  </a:lnTo>
                  <a:lnTo>
                    <a:pt x="1536700" y="409702"/>
                  </a:lnTo>
                  <a:lnTo>
                    <a:pt x="1528572" y="409702"/>
                  </a:lnTo>
                  <a:lnTo>
                    <a:pt x="1520444" y="409702"/>
                  </a:lnTo>
                  <a:lnTo>
                    <a:pt x="1495679" y="406908"/>
                  </a:lnTo>
                  <a:lnTo>
                    <a:pt x="1492504" y="406019"/>
                  </a:lnTo>
                  <a:lnTo>
                    <a:pt x="1490218" y="404876"/>
                  </a:lnTo>
                  <a:lnTo>
                    <a:pt x="1488948" y="403479"/>
                  </a:lnTo>
                  <a:lnTo>
                    <a:pt x="1487551" y="402209"/>
                  </a:lnTo>
                  <a:lnTo>
                    <a:pt x="1487043" y="400685"/>
                  </a:lnTo>
                  <a:lnTo>
                    <a:pt x="1487043" y="399034"/>
                  </a:lnTo>
                  <a:lnTo>
                    <a:pt x="1487043" y="91059"/>
                  </a:lnTo>
                  <a:lnTo>
                    <a:pt x="1487043" y="89408"/>
                  </a:lnTo>
                  <a:lnTo>
                    <a:pt x="1487551" y="88011"/>
                  </a:lnTo>
                  <a:lnTo>
                    <a:pt x="1488567" y="86741"/>
                  </a:lnTo>
                  <a:lnTo>
                    <a:pt x="1489710" y="85471"/>
                  </a:lnTo>
                  <a:lnTo>
                    <a:pt x="1491615" y="84455"/>
                  </a:lnTo>
                  <a:lnTo>
                    <a:pt x="1494282" y="83693"/>
                  </a:lnTo>
                  <a:lnTo>
                    <a:pt x="1497203" y="82803"/>
                  </a:lnTo>
                  <a:lnTo>
                    <a:pt x="1500759" y="82169"/>
                  </a:lnTo>
                  <a:lnTo>
                    <a:pt x="1505331" y="81788"/>
                  </a:lnTo>
                  <a:lnTo>
                    <a:pt x="1509776" y="81407"/>
                  </a:lnTo>
                  <a:lnTo>
                    <a:pt x="1515491" y="81152"/>
                  </a:lnTo>
                  <a:lnTo>
                    <a:pt x="1522222" y="81152"/>
                  </a:lnTo>
                  <a:lnTo>
                    <a:pt x="1528826" y="81152"/>
                  </a:lnTo>
                  <a:lnTo>
                    <a:pt x="1549908" y="83693"/>
                  </a:lnTo>
                  <a:lnTo>
                    <a:pt x="1552575" y="84455"/>
                  </a:lnTo>
                  <a:lnTo>
                    <a:pt x="1554607" y="85471"/>
                  </a:lnTo>
                  <a:lnTo>
                    <a:pt x="1555623" y="86741"/>
                  </a:lnTo>
                  <a:lnTo>
                    <a:pt x="1556893" y="88011"/>
                  </a:lnTo>
                  <a:lnTo>
                    <a:pt x="1557401" y="89408"/>
                  </a:lnTo>
                  <a:lnTo>
                    <a:pt x="1557401" y="91059"/>
                  </a:lnTo>
                  <a:lnTo>
                    <a:pt x="1557401" y="116967"/>
                  </a:lnTo>
                  <a:lnTo>
                    <a:pt x="1599311" y="90424"/>
                  </a:lnTo>
                  <a:lnTo>
                    <a:pt x="1607947" y="86995"/>
                  </a:lnTo>
                  <a:lnTo>
                    <a:pt x="1616456" y="83566"/>
                  </a:lnTo>
                  <a:lnTo>
                    <a:pt x="1625473" y="81025"/>
                  </a:lnTo>
                  <a:lnTo>
                    <a:pt x="1634617" y="79375"/>
                  </a:lnTo>
                  <a:lnTo>
                    <a:pt x="1643761" y="77724"/>
                  </a:lnTo>
                  <a:lnTo>
                    <a:pt x="1653413" y="76962"/>
                  </a:lnTo>
                  <a:lnTo>
                    <a:pt x="1663700" y="76962"/>
                  </a:lnTo>
                  <a:close/>
                </a:path>
                <a:path w="1784350" h="410209">
                  <a:moveTo>
                    <a:pt x="565531" y="76962"/>
                  </a:moveTo>
                  <a:lnTo>
                    <a:pt x="619125" y="81407"/>
                  </a:lnTo>
                  <a:lnTo>
                    <a:pt x="672338" y="101346"/>
                  </a:lnTo>
                  <a:lnTo>
                    <a:pt x="705485" y="136017"/>
                  </a:lnTo>
                  <a:lnTo>
                    <a:pt x="719328" y="184785"/>
                  </a:lnTo>
                  <a:lnTo>
                    <a:pt x="719836" y="199136"/>
                  </a:lnTo>
                  <a:lnTo>
                    <a:pt x="719328" y="212852"/>
                  </a:lnTo>
                  <a:lnTo>
                    <a:pt x="710057" y="250571"/>
                  </a:lnTo>
                  <a:lnTo>
                    <a:pt x="679958" y="290576"/>
                  </a:lnTo>
                  <a:lnTo>
                    <a:pt x="629412" y="316611"/>
                  </a:lnTo>
                  <a:lnTo>
                    <a:pt x="577977" y="325120"/>
                  </a:lnTo>
                  <a:lnTo>
                    <a:pt x="558292" y="325755"/>
                  </a:lnTo>
                  <a:lnTo>
                    <a:pt x="539369" y="325247"/>
                  </a:lnTo>
                  <a:lnTo>
                    <a:pt x="475996" y="312928"/>
                  </a:lnTo>
                  <a:lnTo>
                    <a:pt x="432689" y="285496"/>
                  </a:lnTo>
                  <a:lnTo>
                    <a:pt x="409194" y="243713"/>
                  </a:lnTo>
                  <a:lnTo>
                    <a:pt x="403987" y="203581"/>
                  </a:lnTo>
                  <a:lnTo>
                    <a:pt x="404622" y="189738"/>
                  </a:lnTo>
                  <a:lnTo>
                    <a:pt x="414147" y="152019"/>
                  </a:lnTo>
                  <a:lnTo>
                    <a:pt x="444246" y="111887"/>
                  </a:lnTo>
                  <a:lnTo>
                    <a:pt x="494792" y="86106"/>
                  </a:lnTo>
                  <a:lnTo>
                    <a:pt x="545973" y="77597"/>
                  </a:lnTo>
                  <a:lnTo>
                    <a:pt x="565531" y="76962"/>
                  </a:lnTo>
                  <a:close/>
                </a:path>
                <a:path w="1784350" h="410209">
                  <a:moveTo>
                    <a:pt x="25400" y="0"/>
                  </a:moveTo>
                  <a:lnTo>
                    <a:pt x="307975" y="0"/>
                  </a:lnTo>
                  <a:lnTo>
                    <a:pt x="315849" y="0"/>
                  </a:lnTo>
                  <a:lnTo>
                    <a:pt x="322199" y="1650"/>
                  </a:lnTo>
                  <a:lnTo>
                    <a:pt x="326517" y="5080"/>
                  </a:lnTo>
                  <a:lnTo>
                    <a:pt x="330962" y="8509"/>
                  </a:lnTo>
                  <a:lnTo>
                    <a:pt x="333121" y="13589"/>
                  </a:lnTo>
                  <a:lnTo>
                    <a:pt x="333121" y="20574"/>
                  </a:lnTo>
                  <a:lnTo>
                    <a:pt x="333121" y="311658"/>
                  </a:lnTo>
                  <a:lnTo>
                    <a:pt x="333121" y="313309"/>
                  </a:lnTo>
                  <a:lnTo>
                    <a:pt x="332486" y="314706"/>
                  </a:lnTo>
                  <a:lnTo>
                    <a:pt x="331089" y="315976"/>
                  </a:lnTo>
                  <a:lnTo>
                    <a:pt x="329819" y="317119"/>
                  </a:lnTo>
                  <a:lnTo>
                    <a:pt x="327406" y="318262"/>
                  </a:lnTo>
                  <a:lnTo>
                    <a:pt x="324231" y="319024"/>
                  </a:lnTo>
                  <a:lnTo>
                    <a:pt x="320802" y="319913"/>
                  </a:lnTo>
                  <a:lnTo>
                    <a:pt x="316357" y="320548"/>
                  </a:lnTo>
                  <a:lnTo>
                    <a:pt x="310769" y="320929"/>
                  </a:lnTo>
                  <a:lnTo>
                    <a:pt x="305181" y="321310"/>
                  </a:lnTo>
                  <a:lnTo>
                    <a:pt x="298069" y="321564"/>
                  </a:lnTo>
                  <a:lnTo>
                    <a:pt x="289814" y="321564"/>
                  </a:lnTo>
                  <a:lnTo>
                    <a:pt x="281559" y="321564"/>
                  </a:lnTo>
                  <a:lnTo>
                    <a:pt x="255397" y="319024"/>
                  </a:lnTo>
                  <a:lnTo>
                    <a:pt x="252222" y="318262"/>
                  </a:lnTo>
                  <a:lnTo>
                    <a:pt x="249809" y="317119"/>
                  </a:lnTo>
                  <a:lnTo>
                    <a:pt x="248285" y="315976"/>
                  </a:lnTo>
                  <a:lnTo>
                    <a:pt x="247015" y="314706"/>
                  </a:lnTo>
                  <a:lnTo>
                    <a:pt x="246126" y="313309"/>
                  </a:lnTo>
                  <a:lnTo>
                    <a:pt x="246126" y="311658"/>
                  </a:lnTo>
                  <a:lnTo>
                    <a:pt x="246126" y="54101"/>
                  </a:lnTo>
                  <a:lnTo>
                    <a:pt x="86868" y="54101"/>
                  </a:lnTo>
                  <a:lnTo>
                    <a:pt x="86868" y="311658"/>
                  </a:lnTo>
                  <a:lnTo>
                    <a:pt x="86868" y="313309"/>
                  </a:lnTo>
                  <a:lnTo>
                    <a:pt x="77597" y="319024"/>
                  </a:lnTo>
                  <a:lnTo>
                    <a:pt x="74422" y="319913"/>
                  </a:lnTo>
                  <a:lnTo>
                    <a:pt x="69977" y="320548"/>
                  </a:lnTo>
                  <a:lnTo>
                    <a:pt x="64389" y="320929"/>
                  </a:lnTo>
                  <a:lnTo>
                    <a:pt x="58928" y="321310"/>
                  </a:lnTo>
                  <a:lnTo>
                    <a:pt x="51816" y="321564"/>
                  </a:lnTo>
                  <a:lnTo>
                    <a:pt x="43180" y="321564"/>
                  </a:lnTo>
                  <a:lnTo>
                    <a:pt x="34925" y="321564"/>
                  </a:lnTo>
                  <a:lnTo>
                    <a:pt x="0" y="313309"/>
                  </a:lnTo>
                  <a:lnTo>
                    <a:pt x="0" y="311658"/>
                  </a:lnTo>
                  <a:lnTo>
                    <a:pt x="0" y="20574"/>
                  </a:lnTo>
                  <a:lnTo>
                    <a:pt x="0" y="13589"/>
                  </a:lnTo>
                  <a:lnTo>
                    <a:pt x="2159" y="8509"/>
                  </a:lnTo>
                  <a:lnTo>
                    <a:pt x="6985" y="5080"/>
                  </a:lnTo>
                  <a:lnTo>
                    <a:pt x="11557" y="1650"/>
                  </a:lnTo>
                  <a:lnTo>
                    <a:pt x="17653" y="0"/>
                  </a:lnTo>
                  <a:lnTo>
                    <a:pt x="25400" y="0"/>
                  </a:lnTo>
                  <a:close/>
                </a:path>
              </a:pathLst>
            </a:custGeom>
            <a:ln w="10668">
              <a:solidFill>
                <a:srgbClr val="4579B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0" name="object 10"/>
          <p:cNvGrpSpPr/>
          <p:nvPr/>
        </p:nvGrpSpPr>
        <p:grpSpPr>
          <a:xfrm>
            <a:off x="3113588" y="673353"/>
            <a:ext cx="2724150" cy="448945"/>
            <a:chOff x="7391018" y="731773"/>
            <a:chExt cx="2724150" cy="448945"/>
          </a:xfrm>
        </p:grpSpPr>
        <p:pic>
          <p:nvPicPr>
            <p:cNvPr id="11" name="object 11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396479" y="737146"/>
              <a:ext cx="2711450" cy="438238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8488552" y="897826"/>
              <a:ext cx="152907" cy="147891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8143366" y="881268"/>
              <a:ext cx="138341" cy="66786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8776969" y="837222"/>
              <a:ext cx="1338072" cy="259422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7718805" y="841400"/>
              <a:ext cx="287185" cy="251053"/>
            </a:xfrm>
            <a:prstGeom prst="rect">
              <a:avLst/>
            </a:prstGeom>
          </p:spPr>
        </p:pic>
        <p:sp>
          <p:nvSpPr>
            <p:cNvPr id="16" name="object 16"/>
            <p:cNvSpPr/>
            <p:nvPr/>
          </p:nvSpPr>
          <p:spPr>
            <a:xfrm>
              <a:off x="7396352" y="737107"/>
              <a:ext cx="1322705" cy="438784"/>
            </a:xfrm>
            <a:custGeom>
              <a:avLst/>
              <a:gdLst/>
              <a:ahLst/>
              <a:cxnLst/>
              <a:rect l="l" t="t" r="r" b="b"/>
              <a:pathLst>
                <a:path w="1322704" h="438784">
                  <a:moveTo>
                    <a:pt x="42164" y="109727"/>
                  </a:moveTo>
                  <a:lnTo>
                    <a:pt x="51689" y="109727"/>
                  </a:lnTo>
                  <a:lnTo>
                    <a:pt x="59181" y="109854"/>
                  </a:lnTo>
                  <a:lnTo>
                    <a:pt x="64770" y="110108"/>
                  </a:lnTo>
                  <a:lnTo>
                    <a:pt x="70357" y="110362"/>
                  </a:lnTo>
                  <a:lnTo>
                    <a:pt x="74549" y="110997"/>
                  </a:lnTo>
                  <a:lnTo>
                    <a:pt x="77597" y="112013"/>
                  </a:lnTo>
                  <a:lnTo>
                    <a:pt x="80645" y="112902"/>
                  </a:lnTo>
                  <a:lnTo>
                    <a:pt x="89153" y="125221"/>
                  </a:lnTo>
                  <a:lnTo>
                    <a:pt x="158496" y="272922"/>
                  </a:lnTo>
                  <a:lnTo>
                    <a:pt x="159512" y="272922"/>
                  </a:lnTo>
                  <a:lnTo>
                    <a:pt x="223012" y="122300"/>
                  </a:lnTo>
                  <a:lnTo>
                    <a:pt x="224281" y="117982"/>
                  </a:lnTo>
                  <a:lnTo>
                    <a:pt x="226060" y="115062"/>
                  </a:lnTo>
                  <a:lnTo>
                    <a:pt x="228092" y="113791"/>
                  </a:lnTo>
                  <a:lnTo>
                    <a:pt x="230124" y="112394"/>
                  </a:lnTo>
                  <a:lnTo>
                    <a:pt x="233679" y="111378"/>
                  </a:lnTo>
                  <a:lnTo>
                    <a:pt x="238505" y="110743"/>
                  </a:lnTo>
                  <a:lnTo>
                    <a:pt x="243331" y="110108"/>
                  </a:lnTo>
                  <a:lnTo>
                    <a:pt x="251841" y="109727"/>
                  </a:lnTo>
                  <a:lnTo>
                    <a:pt x="264032" y="109727"/>
                  </a:lnTo>
                  <a:lnTo>
                    <a:pt x="273557" y="109727"/>
                  </a:lnTo>
                  <a:lnTo>
                    <a:pt x="281304" y="110108"/>
                  </a:lnTo>
                  <a:lnTo>
                    <a:pt x="287527" y="110743"/>
                  </a:lnTo>
                  <a:lnTo>
                    <a:pt x="293877" y="111378"/>
                  </a:lnTo>
                  <a:lnTo>
                    <a:pt x="298450" y="112649"/>
                  </a:lnTo>
                  <a:lnTo>
                    <a:pt x="301498" y="114426"/>
                  </a:lnTo>
                  <a:lnTo>
                    <a:pt x="304546" y="116077"/>
                  </a:lnTo>
                  <a:lnTo>
                    <a:pt x="305816" y="118617"/>
                  </a:lnTo>
                  <a:lnTo>
                    <a:pt x="305816" y="121665"/>
                  </a:lnTo>
                  <a:lnTo>
                    <a:pt x="305816" y="124713"/>
                  </a:lnTo>
                  <a:lnTo>
                    <a:pt x="205104" y="348614"/>
                  </a:lnTo>
                  <a:lnTo>
                    <a:pt x="169545" y="426592"/>
                  </a:lnTo>
                  <a:lnTo>
                    <a:pt x="114680" y="438276"/>
                  </a:lnTo>
                  <a:lnTo>
                    <a:pt x="105918" y="438276"/>
                  </a:lnTo>
                  <a:lnTo>
                    <a:pt x="98805" y="438022"/>
                  </a:lnTo>
                  <a:lnTo>
                    <a:pt x="93472" y="437388"/>
                  </a:lnTo>
                  <a:lnTo>
                    <a:pt x="88265" y="436879"/>
                  </a:lnTo>
                  <a:lnTo>
                    <a:pt x="84200" y="435863"/>
                  </a:lnTo>
                  <a:lnTo>
                    <a:pt x="81661" y="434593"/>
                  </a:lnTo>
                  <a:lnTo>
                    <a:pt x="78994" y="433324"/>
                  </a:lnTo>
                  <a:lnTo>
                    <a:pt x="77470" y="431672"/>
                  </a:lnTo>
                  <a:lnTo>
                    <a:pt x="77216" y="429640"/>
                  </a:lnTo>
                  <a:lnTo>
                    <a:pt x="77089" y="427608"/>
                  </a:lnTo>
                  <a:lnTo>
                    <a:pt x="77724" y="425195"/>
                  </a:lnTo>
                  <a:lnTo>
                    <a:pt x="79248" y="422401"/>
                  </a:lnTo>
                  <a:lnTo>
                    <a:pt x="118618" y="348614"/>
                  </a:lnTo>
                  <a:lnTo>
                    <a:pt x="105664" y="337438"/>
                  </a:lnTo>
                  <a:lnTo>
                    <a:pt x="4318" y="134619"/>
                  </a:lnTo>
                  <a:lnTo>
                    <a:pt x="1397" y="128904"/>
                  </a:lnTo>
                  <a:lnTo>
                    <a:pt x="0" y="124459"/>
                  </a:lnTo>
                  <a:lnTo>
                    <a:pt x="0" y="121412"/>
                  </a:lnTo>
                  <a:lnTo>
                    <a:pt x="0" y="118363"/>
                  </a:lnTo>
                  <a:lnTo>
                    <a:pt x="17272" y="110743"/>
                  </a:lnTo>
                  <a:lnTo>
                    <a:pt x="23622" y="110108"/>
                  </a:lnTo>
                  <a:lnTo>
                    <a:pt x="31876" y="109727"/>
                  </a:lnTo>
                  <a:lnTo>
                    <a:pt x="42164" y="109727"/>
                  </a:lnTo>
                  <a:close/>
                </a:path>
                <a:path w="1322704" h="438784">
                  <a:moveTo>
                    <a:pt x="819785" y="105537"/>
                  </a:moveTo>
                  <a:lnTo>
                    <a:pt x="882903" y="113664"/>
                  </a:lnTo>
                  <a:lnTo>
                    <a:pt x="926083" y="136270"/>
                  </a:lnTo>
                  <a:lnTo>
                    <a:pt x="950849" y="170561"/>
                  </a:lnTo>
                  <a:lnTo>
                    <a:pt x="958850" y="213613"/>
                  </a:lnTo>
                  <a:lnTo>
                    <a:pt x="958850" y="223519"/>
                  </a:lnTo>
                  <a:lnTo>
                    <a:pt x="958850" y="231012"/>
                  </a:lnTo>
                  <a:lnTo>
                    <a:pt x="956564" y="236600"/>
                  </a:lnTo>
                  <a:lnTo>
                    <a:pt x="951992" y="240156"/>
                  </a:lnTo>
                  <a:lnTo>
                    <a:pt x="947674" y="243839"/>
                  </a:lnTo>
                  <a:lnTo>
                    <a:pt x="941324" y="245617"/>
                  </a:lnTo>
                  <a:lnTo>
                    <a:pt x="933450" y="245617"/>
                  </a:lnTo>
                  <a:lnTo>
                    <a:pt x="754126" y="245617"/>
                  </a:lnTo>
                  <a:lnTo>
                    <a:pt x="766064" y="285495"/>
                  </a:lnTo>
                  <a:lnTo>
                    <a:pt x="772668" y="290829"/>
                  </a:lnTo>
                  <a:lnTo>
                    <a:pt x="779145" y="296163"/>
                  </a:lnTo>
                  <a:lnTo>
                    <a:pt x="834644" y="307213"/>
                  </a:lnTo>
                  <a:lnTo>
                    <a:pt x="845185" y="307086"/>
                  </a:lnTo>
                  <a:lnTo>
                    <a:pt x="901573" y="299719"/>
                  </a:lnTo>
                  <a:lnTo>
                    <a:pt x="926846" y="292988"/>
                  </a:lnTo>
                  <a:lnTo>
                    <a:pt x="931037" y="292226"/>
                  </a:lnTo>
                  <a:lnTo>
                    <a:pt x="934466" y="292226"/>
                  </a:lnTo>
                  <a:lnTo>
                    <a:pt x="936498" y="292226"/>
                  </a:lnTo>
                  <a:lnTo>
                    <a:pt x="938022" y="292480"/>
                  </a:lnTo>
                  <a:lnTo>
                    <a:pt x="939292" y="293115"/>
                  </a:lnTo>
                  <a:lnTo>
                    <a:pt x="940689" y="293624"/>
                  </a:lnTo>
                  <a:lnTo>
                    <a:pt x="941704" y="294766"/>
                  </a:lnTo>
                  <a:lnTo>
                    <a:pt x="942721" y="296037"/>
                  </a:lnTo>
                  <a:lnTo>
                    <a:pt x="943610" y="297561"/>
                  </a:lnTo>
                  <a:lnTo>
                    <a:pt x="944118" y="299719"/>
                  </a:lnTo>
                  <a:lnTo>
                    <a:pt x="944372" y="302387"/>
                  </a:lnTo>
                  <a:lnTo>
                    <a:pt x="944752" y="305053"/>
                  </a:lnTo>
                  <a:lnTo>
                    <a:pt x="944879" y="308482"/>
                  </a:lnTo>
                  <a:lnTo>
                    <a:pt x="944879" y="312674"/>
                  </a:lnTo>
                  <a:lnTo>
                    <a:pt x="944879" y="316356"/>
                  </a:lnTo>
                  <a:lnTo>
                    <a:pt x="944879" y="319404"/>
                  </a:lnTo>
                  <a:lnTo>
                    <a:pt x="944626" y="321944"/>
                  </a:lnTo>
                  <a:lnTo>
                    <a:pt x="944372" y="324484"/>
                  </a:lnTo>
                  <a:lnTo>
                    <a:pt x="941704" y="333120"/>
                  </a:lnTo>
                  <a:lnTo>
                    <a:pt x="940816" y="334390"/>
                  </a:lnTo>
                  <a:lnTo>
                    <a:pt x="939673" y="335533"/>
                  </a:lnTo>
                  <a:lnTo>
                    <a:pt x="938149" y="336676"/>
                  </a:lnTo>
                  <a:lnTo>
                    <a:pt x="936751" y="337819"/>
                  </a:lnTo>
                  <a:lnTo>
                    <a:pt x="932942" y="339470"/>
                  </a:lnTo>
                  <a:lnTo>
                    <a:pt x="926465" y="341375"/>
                  </a:lnTo>
                  <a:lnTo>
                    <a:pt x="919988" y="343407"/>
                  </a:lnTo>
                  <a:lnTo>
                    <a:pt x="868045" y="352170"/>
                  </a:lnTo>
                  <a:lnTo>
                    <a:pt x="827024" y="354202"/>
                  </a:lnTo>
                  <a:lnTo>
                    <a:pt x="807974" y="353821"/>
                  </a:lnTo>
                  <a:lnTo>
                    <a:pt x="743966" y="342645"/>
                  </a:lnTo>
                  <a:lnTo>
                    <a:pt x="699389" y="316229"/>
                  </a:lnTo>
                  <a:lnTo>
                    <a:pt x="674877" y="274192"/>
                  </a:lnTo>
                  <a:lnTo>
                    <a:pt x="669417" y="232409"/>
                  </a:lnTo>
                  <a:lnTo>
                    <a:pt x="670051" y="217931"/>
                  </a:lnTo>
                  <a:lnTo>
                    <a:pt x="679703" y="179196"/>
                  </a:lnTo>
                  <a:lnTo>
                    <a:pt x="709422" y="139191"/>
                  </a:lnTo>
                  <a:lnTo>
                    <a:pt x="756793" y="114172"/>
                  </a:lnTo>
                  <a:lnTo>
                    <a:pt x="802640" y="106044"/>
                  </a:lnTo>
                  <a:lnTo>
                    <a:pt x="819785" y="105537"/>
                  </a:lnTo>
                  <a:close/>
                </a:path>
                <a:path w="1322704" h="438784">
                  <a:moveTo>
                    <a:pt x="1291336" y="0"/>
                  </a:moveTo>
                  <a:lnTo>
                    <a:pt x="1293114" y="0"/>
                  </a:lnTo>
                  <a:lnTo>
                    <a:pt x="1294383" y="0"/>
                  </a:lnTo>
                  <a:lnTo>
                    <a:pt x="1295780" y="126"/>
                  </a:lnTo>
                  <a:lnTo>
                    <a:pt x="1304925" y="19938"/>
                  </a:lnTo>
                  <a:lnTo>
                    <a:pt x="1304925" y="26669"/>
                  </a:lnTo>
                  <a:lnTo>
                    <a:pt x="1304925" y="31241"/>
                  </a:lnTo>
                  <a:lnTo>
                    <a:pt x="1287272" y="55752"/>
                  </a:lnTo>
                  <a:lnTo>
                    <a:pt x="1190244" y="66675"/>
                  </a:lnTo>
                  <a:lnTo>
                    <a:pt x="1148461" y="74167"/>
                  </a:lnTo>
                  <a:lnTo>
                    <a:pt x="1143253" y="75691"/>
                  </a:lnTo>
                  <a:lnTo>
                    <a:pt x="1138681" y="77469"/>
                  </a:lnTo>
                  <a:lnTo>
                    <a:pt x="1134872" y="79501"/>
                  </a:lnTo>
                  <a:lnTo>
                    <a:pt x="1131062" y="81533"/>
                  </a:lnTo>
                  <a:lnTo>
                    <a:pt x="1113281" y="97408"/>
                  </a:lnTo>
                  <a:lnTo>
                    <a:pt x="1110233" y="101600"/>
                  </a:lnTo>
                  <a:lnTo>
                    <a:pt x="1107440" y="106299"/>
                  </a:lnTo>
                  <a:lnTo>
                    <a:pt x="1105280" y="111505"/>
                  </a:lnTo>
                  <a:lnTo>
                    <a:pt x="1103122" y="116458"/>
                  </a:lnTo>
                  <a:lnTo>
                    <a:pt x="1095502" y="147319"/>
                  </a:lnTo>
                  <a:lnTo>
                    <a:pt x="1101344" y="142620"/>
                  </a:lnTo>
                  <a:lnTo>
                    <a:pt x="1107948" y="138429"/>
                  </a:lnTo>
                  <a:lnTo>
                    <a:pt x="1156207" y="119761"/>
                  </a:lnTo>
                  <a:lnTo>
                    <a:pt x="1210818" y="116331"/>
                  </a:lnTo>
                  <a:lnTo>
                    <a:pt x="1262888" y="127762"/>
                  </a:lnTo>
                  <a:lnTo>
                    <a:pt x="1304798" y="161670"/>
                  </a:lnTo>
                  <a:lnTo>
                    <a:pt x="1320419" y="202818"/>
                  </a:lnTo>
                  <a:lnTo>
                    <a:pt x="1322324" y="227711"/>
                  </a:lnTo>
                  <a:lnTo>
                    <a:pt x="1321689" y="241553"/>
                  </a:lnTo>
                  <a:lnTo>
                    <a:pt x="1311021" y="279653"/>
                  </a:lnTo>
                  <a:lnTo>
                    <a:pt x="1278508" y="319658"/>
                  </a:lnTo>
                  <a:lnTo>
                    <a:pt x="1228344" y="345313"/>
                  </a:lnTo>
                  <a:lnTo>
                    <a:pt x="1163320" y="354202"/>
                  </a:lnTo>
                  <a:lnTo>
                    <a:pt x="1144270" y="353694"/>
                  </a:lnTo>
                  <a:lnTo>
                    <a:pt x="1082040" y="339978"/>
                  </a:lnTo>
                  <a:lnTo>
                    <a:pt x="1040383" y="307720"/>
                  </a:lnTo>
                  <a:lnTo>
                    <a:pt x="1022096" y="271017"/>
                  </a:lnTo>
                  <a:lnTo>
                    <a:pt x="1014349" y="223392"/>
                  </a:lnTo>
                  <a:lnTo>
                    <a:pt x="1013841" y="205104"/>
                  </a:lnTo>
                  <a:lnTo>
                    <a:pt x="1014095" y="191642"/>
                  </a:lnTo>
                  <a:lnTo>
                    <a:pt x="1017524" y="153415"/>
                  </a:lnTo>
                  <a:lnTo>
                    <a:pt x="1028700" y="109092"/>
                  </a:lnTo>
                  <a:lnTo>
                    <a:pt x="1052702" y="66420"/>
                  </a:lnTo>
                  <a:lnTo>
                    <a:pt x="1092073" y="34670"/>
                  </a:lnTo>
                  <a:lnTo>
                    <a:pt x="1153922" y="15620"/>
                  </a:lnTo>
                  <a:lnTo>
                    <a:pt x="1286002" y="380"/>
                  </a:lnTo>
                  <a:lnTo>
                    <a:pt x="1288033" y="126"/>
                  </a:lnTo>
                  <a:lnTo>
                    <a:pt x="1289812" y="126"/>
                  </a:lnTo>
                  <a:lnTo>
                    <a:pt x="1291336" y="0"/>
                  </a:lnTo>
                  <a:close/>
                </a:path>
              </a:pathLst>
            </a:custGeom>
            <a:ln w="10668">
              <a:solidFill>
                <a:srgbClr val="4579B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7" name="object 17"/>
          <p:cNvGrpSpPr/>
          <p:nvPr/>
        </p:nvGrpSpPr>
        <p:grpSpPr>
          <a:xfrm>
            <a:off x="564100" y="1366095"/>
            <a:ext cx="3440177" cy="2705967"/>
            <a:chOff x="8995791" y="1304925"/>
            <a:chExt cx="3196590" cy="2339975"/>
          </a:xfrm>
        </p:grpSpPr>
        <p:pic>
          <p:nvPicPr>
            <p:cNvPr id="18" name="object 18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8995791" y="1304925"/>
              <a:ext cx="3196208" cy="2339467"/>
            </a:xfrm>
            <a:prstGeom prst="rect">
              <a:avLst/>
            </a:prstGeom>
          </p:spPr>
        </p:pic>
        <p:pic>
          <p:nvPicPr>
            <p:cNvPr id="19" name="object 19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11379454" y="2593213"/>
              <a:ext cx="812545" cy="653668"/>
            </a:xfrm>
            <a:prstGeom prst="rect">
              <a:avLst/>
            </a:prstGeom>
          </p:spPr>
        </p:pic>
      </p:grpSp>
      <p:sp>
        <p:nvSpPr>
          <p:cNvPr id="20" name="object 20"/>
          <p:cNvSpPr txBox="1"/>
          <p:nvPr/>
        </p:nvSpPr>
        <p:spPr>
          <a:xfrm>
            <a:off x="312349" y="4651310"/>
            <a:ext cx="5613400" cy="1794722"/>
          </a:xfrm>
          <a:prstGeom prst="rect">
            <a:avLst/>
          </a:prstGeom>
        </p:spPr>
        <p:txBody>
          <a:bodyPr vert="horz" wrap="square" lIns="0" tIns="24765" rIns="0" bIns="0" rtlCol="0">
            <a:spAutoFit/>
          </a:bodyPr>
          <a:lstStyle/>
          <a:p>
            <a:pPr marL="12700" marR="5080">
              <a:lnSpc>
                <a:spcPts val="1680"/>
              </a:lnSpc>
              <a:spcBef>
                <a:spcPts val="195"/>
              </a:spcBef>
            </a:pPr>
            <a:r>
              <a:rPr sz="2000" b="1" i="1" spc="-3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D-моделирование </a:t>
            </a:r>
            <a:r>
              <a:rPr sz="1600" i="1" spc="590" dirty="0">
                <a:latin typeface="Arial" panose="020B0604020202020204" pitchFamily="34" charset="0"/>
                <a:cs typeface="Arial" panose="020B0604020202020204" pitchFamily="34" charset="0"/>
              </a:rPr>
              <a:t>— </a:t>
            </a:r>
            <a:r>
              <a:rPr sz="1600" i="1" spc="-15" dirty="0">
                <a:latin typeface="Arial" panose="020B0604020202020204" pitchFamily="34" charset="0"/>
                <a:cs typeface="Arial" panose="020B0604020202020204" pitchFamily="34" charset="0"/>
              </a:rPr>
              <a:t>это создание </a:t>
            </a:r>
            <a:r>
              <a:rPr sz="1600" i="1" spc="-30" dirty="0">
                <a:latin typeface="Arial" panose="020B0604020202020204" pitchFamily="34" charset="0"/>
                <a:cs typeface="Arial" panose="020B0604020202020204" pitchFamily="34" charset="0"/>
              </a:rPr>
              <a:t>трехмерных изображений </a:t>
            </a:r>
            <a:r>
              <a:rPr sz="1600" i="1" spc="-5" dirty="0"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sz="16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90" dirty="0"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sz="1600" i="1" spc="-30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1600" i="1" spc="-65" dirty="0"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sz="1600" i="1" spc="-15" dirty="0"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sz="1600" i="1" spc="35" dirty="0">
                <a:latin typeface="Arial" panose="020B0604020202020204" pitchFamily="34" charset="0"/>
                <a:cs typeface="Arial" panose="020B0604020202020204" pitchFamily="34" charset="0"/>
              </a:rPr>
              <a:t>ью</a:t>
            </a:r>
            <a:r>
              <a:rPr sz="1600" i="1" spc="-30" dirty="0"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sz="1600" i="1" spc="-95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1600" i="1" spc="-15" dirty="0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sz="1600" i="1" spc="-10" dirty="0">
                <a:latin typeface="Arial" panose="020B0604020202020204" pitchFamily="34" charset="0"/>
                <a:cs typeface="Arial" panose="020B0604020202020204" pitchFamily="34" charset="0"/>
              </a:rPr>
              <a:t>н</a:t>
            </a:r>
            <a:r>
              <a:rPr sz="1600" i="1" spc="-95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1600" i="1" spc="-10" dirty="0">
                <a:latin typeface="Arial" panose="020B0604020202020204" pitchFamily="34" charset="0"/>
                <a:cs typeface="Arial" panose="020B0604020202020204" pitchFamily="34" charset="0"/>
              </a:rPr>
              <a:t>й</a:t>
            </a:r>
            <a:r>
              <a:rPr sz="1600" i="1" spc="-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dirty="0">
                <a:latin typeface="Arial" panose="020B0604020202020204" pitchFamily="34" charset="0"/>
                <a:cs typeface="Arial" panose="020B0604020202020204" pitchFamily="34" charset="0"/>
              </a:rPr>
              <a:t>г</a:t>
            </a:r>
            <a:r>
              <a:rPr sz="1600" i="1" spc="-15" dirty="0">
                <a:latin typeface="Arial" panose="020B0604020202020204" pitchFamily="34" charset="0"/>
                <a:cs typeface="Arial" panose="020B0604020202020204" pitchFamily="34" charset="0"/>
              </a:rPr>
              <a:t>ра</a:t>
            </a:r>
            <a:r>
              <a:rPr sz="1600" i="1" spc="-80" dirty="0">
                <a:latin typeface="Arial" panose="020B0604020202020204" pitchFamily="34" charset="0"/>
                <a:cs typeface="Arial" panose="020B0604020202020204" pitchFamily="34" charset="0"/>
              </a:rPr>
              <a:t>ф</a:t>
            </a:r>
            <a:r>
              <a:rPr sz="1600" i="1" spc="-15" dirty="0"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sz="1600" i="1" spc="-90" dirty="0"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sz="1600" i="1" spc="-10" dirty="0"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sz="1600" i="1" spc="-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5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sz="1600" i="1" spc="-7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15" dirty="0"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sz="1600" i="1" spc="-30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1600" i="1" spc="-65" dirty="0"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sz="1600" i="1" spc="-10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1600" i="1" dirty="0">
                <a:latin typeface="Arial" panose="020B0604020202020204" pitchFamily="34" charset="0"/>
                <a:cs typeface="Arial" panose="020B0604020202020204" pitchFamily="34" charset="0"/>
              </a:rPr>
              <a:t>щ</a:t>
            </a:r>
            <a:r>
              <a:rPr sz="1600" i="1" spc="35" dirty="0">
                <a:latin typeface="Arial" panose="020B0604020202020204" pitchFamily="34" charset="0"/>
                <a:cs typeface="Arial" panose="020B0604020202020204" pitchFamily="34" charset="0"/>
              </a:rPr>
              <a:t>ь</a:t>
            </a:r>
            <a:r>
              <a:rPr sz="1600" i="1" dirty="0">
                <a:latin typeface="Arial" panose="020B0604020202020204" pitchFamily="34" charset="0"/>
                <a:cs typeface="Arial" panose="020B0604020202020204" pitchFamily="34" charset="0"/>
              </a:rPr>
              <a:t>ю</a:t>
            </a:r>
            <a:r>
              <a:rPr sz="1600" i="1" spc="-11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15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sz="1600" i="1" spc="-5" dirty="0"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sz="1600" i="1" spc="-15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1600" i="1" spc="-40" dirty="0">
                <a:latin typeface="Arial" panose="020B0604020202020204" pitchFamily="34" charset="0"/>
                <a:cs typeface="Arial" panose="020B0604020202020204" pitchFamily="34" charset="0"/>
              </a:rPr>
              <a:t>ц</a:t>
            </a:r>
            <a:r>
              <a:rPr sz="1600" i="1" spc="-15" dirty="0"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sz="1600" i="1" spc="-5" dirty="0"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sz="1600" i="1" spc="-45" dirty="0">
                <a:latin typeface="Arial" panose="020B0604020202020204" pitchFamily="34" charset="0"/>
                <a:cs typeface="Arial" panose="020B0604020202020204" pitchFamily="34" charset="0"/>
              </a:rPr>
              <a:t>ль</a:t>
            </a:r>
            <a:r>
              <a:rPr sz="1600" i="1" spc="-15" dirty="0">
                <a:latin typeface="Arial" panose="020B0604020202020204" pitchFamily="34" charset="0"/>
                <a:cs typeface="Arial" panose="020B0604020202020204" pitchFamily="34" charset="0"/>
              </a:rPr>
              <a:t>н</a:t>
            </a:r>
            <a:r>
              <a:rPr sz="1600" i="1" spc="-95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1600" i="1" dirty="0">
                <a:latin typeface="Arial" panose="020B0604020202020204" pitchFamily="34" charset="0"/>
                <a:cs typeface="Arial" panose="020B0604020202020204" pitchFamily="34" charset="0"/>
              </a:rPr>
              <a:t>г</a:t>
            </a:r>
            <a:r>
              <a:rPr sz="1600" i="1" spc="-10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1600" i="1" spc="-229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10" dirty="0">
                <a:latin typeface="Arial" panose="020B0604020202020204" pitchFamily="34" charset="0"/>
                <a:cs typeface="Arial" panose="020B0604020202020204" pitchFamily="34" charset="0"/>
              </a:rPr>
              <a:t>со</a:t>
            </a:r>
            <a:r>
              <a:rPr sz="1600" i="1" spc="-80" dirty="0">
                <a:latin typeface="Arial" panose="020B0604020202020204" pitchFamily="34" charset="0"/>
                <a:cs typeface="Arial" panose="020B0604020202020204" pitchFamily="34" charset="0"/>
              </a:rPr>
              <a:t>ф</a:t>
            </a:r>
            <a:r>
              <a:rPr sz="1600" i="1" spc="-30" dirty="0"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sz="1600" i="1" spc="-15" dirty="0"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sz="1600" i="1" spc="-5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sz="1600" i="1" spc="-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600" i="1" spc="-1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marR="5080">
              <a:lnSpc>
                <a:spcPts val="1680"/>
              </a:lnSpc>
              <a:spcBef>
                <a:spcPts val="195"/>
              </a:spcBef>
            </a:pPr>
            <a:r>
              <a:rPr sz="1600" i="1" spc="-5" dirty="0">
                <a:latin typeface="Arial" panose="020B0604020202020204" pitchFamily="34" charset="0"/>
                <a:cs typeface="Arial" panose="020B0604020202020204" pitchFamily="34" charset="0"/>
              </a:rPr>
              <a:t>В  </a:t>
            </a:r>
            <a:r>
              <a:rPr sz="1600" i="1" spc="-20" dirty="0">
                <a:latin typeface="Arial" panose="020B0604020202020204" pitchFamily="34" charset="0"/>
                <a:cs typeface="Arial" panose="020B0604020202020204" pitchFamily="34" charset="0"/>
              </a:rPr>
              <a:t>современном</a:t>
            </a:r>
            <a:r>
              <a:rPr sz="1600" i="1" spc="-18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30" dirty="0">
                <a:latin typeface="Arial" panose="020B0604020202020204" pitchFamily="34" charset="0"/>
                <a:cs typeface="Arial" panose="020B0604020202020204" pitchFamily="34" charset="0"/>
              </a:rPr>
              <a:t>мире</a:t>
            </a:r>
            <a:r>
              <a:rPr sz="1600" i="1" spc="-13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590" dirty="0">
                <a:latin typeface="Arial" panose="020B0604020202020204" pitchFamily="34" charset="0"/>
                <a:cs typeface="Arial" panose="020B0604020202020204" pitchFamily="34" charset="0"/>
              </a:rPr>
              <a:t>—</a:t>
            </a:r>
            <a:r>
              <a:rPr sz="1600" i="1" spc="-7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15" dirty="0">
                <a:latin typeface="Arial" panose="020B0604020202020204" pitchFamily="34" charset="0"/>
                <a:cs typeface="Arial" panose="020B0604020202020204" pitchFamily="34" charset="0"/>
              </a:rPr>
              <a:t>это</a:t>
            </a:r>
            <a:r>
              <a:rPr sz="1600" i="1" spc="-6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15" dirty="0">
                <a:latin typeface="Arial" panose="020B0604020202020204" pitchFamily="34" charset="0"/>
                <a:cs typeface="Arial" panose="020B0604020202020204" pitchFamily="34" charset="0"/>
              </a:rPr>
              <a:t>востребованная</a:t>
            </a:r>
            <a:r>
              <a:rPr sz="1600" i="1" spc="-204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25" dirty="0">
                <a:latin typeface="Arial" panose="020B0604020202020204" pitchFamily="34" charset="0"/>
                <a:cs typeface="Arial" panose="020B0604020202020204" pitchFamily="34" charset="0"/>
              </a:rPr>
              <a:t>сфера</a:t>
            </a:r>
            <a:r>
              <a:rPr sz="1600" i="1" spc="-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20" dirty="0">
                <a:latin typeface="Arial" panose="020B0604020202020204" pitchFamily="34" charset="0"/>
                <a:cs typeface="Arial" panose="020B0604020202020204" pitchFamily="34" charset="0"/>
              </a:rPr>
              <a:t>деятельности:</a:t>
            </a:r>
            <a:r>
              <a:rPr sz="1600" i="1" spc="-14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15" dirty="0">
                <a:latin typeface="Arial" panose="020B0604020202020204" pitchFamily="34" charset="0"/>
                <a:cs typeface="Arial" panose="020B0604020202020204" pitchFamily="34" charset="0"/>
              </a:rPr>
              <a:t>75</a:t>
            </a:r>
            <a:r>
              <a:rPr sz="1600" i="1" spc="-10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sz="1600" i="1" spc="-7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15" dirty="0">
                <a:latin typeface="Arial" panose="020B0604020202020204" pitchFamily="34" charset="0"/>
                <a:cs typeface="Arial" panose="020B0604020202020204" pitchFamily="34" charset="0"/>
              </a:rPr>
              <a:t>каталога</a:t>
            </a:r>
            <a:r>
              <a:rPr sz="1600" i="1" spc="-14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50" dirty="0">
                <a:latin typeface="Arial" panose="020B0604020202020204" pitchFamily="34" charset="0"/>
                <a:cs typeface="Arial" panose="020B0604020202020204" pitchFamily="34" charset="0"/>
              </a:rPr>
              <a:t>«ИКЕА»</a:t>
            </a:r>
            <a:r>
              <a:rPr sz="1600" i="1" spc="-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10" dirty="0">
                <a:latin typeface="Arial" panose="020B0604020202020204" pitchFamily="34" charset="0"/>
                <a:cs typeface="Arial" panose="020B0604020202020204" pitchFamily="34" charset="0"/>
              </a:rPr>
              <a:t>выполнено</a:t>
            </a:r>
            <a:r>
              <a:rPr sz="1600" i="1" spc="-14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5" dirty="0"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sz="1600" i="1" spc="-11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10" dirty="0">
                <a:latin typeface="Arial" panose="020B0604020202020204" pitchFamily="34" charset="0"/>
                <a:cs typeface="Arial" panose="020B0604020202020204" pitchFamily="34" charset="0"/>
              </a:rPr>
              <a:t>3D,</a:t>
            </a:r>
            <a:r>
              <a:rPr sz="1600" i="1" spc="-7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10" dirty="0">
                <a:latin typeface="Arial" panose="020B0604020202020204" pitchFamily="34" charset="0"/>
                <a:cs typeface="Arial" panose="020B0604020202020204" pitchFamily="34" charset="0"/>
              </a:rPr>
              <a:t>Facebook</a:t>
            </a:r>
            <a:r>
              <a:rPr sz="1600" i="1" spc="-14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25" dirty="0">
                <a:latin typeface="Arial" panose="020B0604020202020204" pitchFamily="34" charset="0"/>
                <a:cs typeface="Arial" panose="020B0604020202020204" pitchFamily="34" charset="0"/>
              </a:rPr>
              <a:t>купил</a:t>
            </a:r>
            <a:r>
              <a:rPr sz="1600" i="1" spc="-10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20" dirty="0">
                <a:latin typeface="Arial" panose="020B0604020202020204" pitchFamily="34" charset="0"/>
                <a:cs typeface="Arial" panose="020B0604020202020204" pitchFamily="34" charset="0"/>
              </a:rPr>
              <a:t>компанию- </a:t>
            </a:r>
            <a:r>
              <a:rPr sz="1600" i="1" spc="-37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30" dirty="0">
                <a:latin typeface="Arial" panose="020B0604020202020204" pitchFamily="34" charset="0"/>
                <a:cs typeface="Arial" panose="020B0604020202020204" pitchFamily="34" charset="0"/>
              </a:rPr>
              <a:t>производителя</a:t>
            </a:r>
            <a:r>
              <a:rPr sz="1600" i="1" spc="-13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35" dirty="0">
                <a:latin typeface="Arial" panose="020B0604020202020204" pitchFamily="34" charset="0"/>
                <a:cs typeface="Arial" panose="020B0604020202020204" pitchFamily="34" charset="0"/>
              </a:rPr>
              <a:t>очков</a:t>
            </a:r>
            <a:r>
              <a:rPr sz="1600" i="1" spc="-11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25" dirty="0">
                <a:latin typeface="Arial" panose="020B0604020202020204" pitchFamily="34" charset="0"/>
                <a:cs typeface="Arial" panose="020B0604020202020204" pitchFamily="34" charset="0"/>
              </a:rPr>
              <a:t>дополненной</a:t>
            </a:r>
            <a:r>
              <a:rPr sz="1600" i="1" spc="-15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20" dirty="0">
                <a:latin typeface="Arial" panose="020B0604020202020204" pitchFamily="34" charset="0"/>
                <a:cs typeface="Arial" panose="020B0604020202020204" pitchFamily="34" charset="0"/>
              </a:rPr>
              <a:t>реальности</a:t>
            </a:r>
            <a:r>
              <a:rPr sz="1600" i="1" spc="-14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10" dirty="0">
                <a:latin typeface="Arial" panose="020B0604020202020204" pitchFamily="34" charset="0"/>
                <a:cs typeface="Arial" panose="020B0604020202020204" pitchFamily="34" charset="0"/>
              </a:rPr>
              <a:t>Oculus</a:t>
            </a:r>
            <a:r>
              <a:rPr sz="1600" i="1" spc="-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10" dirty="0">
                <a:latin typeface="Arial" panose="020B0604020202020204" pitchFamily="34" charset="0"/>
                <a:cs typeface="Arial" panose="020B0604020202020204" pitchFamily="34" charset="0"/>
              </a:rPr>
              <a:t>Rift</a:t>
            </a:r>
            <a:r>
              <a:rPr sz="1600" i="1" spc="-14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50" dirty="0">
                <a:latin typeface="Arial" panose="020B0604020202020204" pitchFamily="34" charset="0"/>
                <a:cs typeface="Arial" panose="020B0604020202020204" pitchFamily="34" charset="0"/>
              </a:rPr>
              <a:t>за</a:t>
            </a:r>
            <a:r>
              <a:rPr sz="1600" i="1" spc="1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10" dirty="0">
                <a:latin typeface="Arial" panose="020B0604020202020204" pitchFamily="34" charset="0"/>
                <a:cs typeface="Arial" panose="020B0604020202020204" pitchFamily="34" charset="0"/>
              </a:rPr>
              <a:t>2,3 </a:t>
            </a:r>
            <a:r>
              <a:rPr sz="1600" i="1" spc="-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15" dirty="0">
                <a:latin typeface="Arial" panose="020B0604020202020204" pitchFamily="34" charset="0"/>
                <a:cs typeface="Arial" panose="020B0604020202020204" pitchFamily="34" charset="0"/>
              </a:rPr>
              <a:t>млрд</a:t>
            </a:r>
            <a:r>
              <a:rPr sz="1600" i="1" spc="-11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10" dirty="0">
                <a:latin typeface="Arial" panose="020B0604020202020204" pitchFamily="34" charset="0"/>
                <a:cs typeface="Arial" panose="020B0604020202020204" pitchFamily="34" charset="0"/>
              </a:rPr>
              <a:t>долларов,</a:t>
            </a:r>
            <a:r>
              <a:rPr sz="1600" i="1" spc="-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30" dirty="0">
                <a:latin typeface="Arial" panose="020B0604020202020204" pitchFamily="34" charset="0"/>
                <a:cs typeface="Arial" panose="020B0604020202020204" pitchFamily="34" charset="0"/>
              </a:rPr>
              <a:t>чтобы</a:t>
            </a:r>
            <a:r>
              <a:rPr sz="1600" i="1" spc="-14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20" dirty="0">
                <a:latin typeface="Arial" panose="020B0604020202020204" pitchFamily="34" charset="0"/>
                <a:cs typeface="Arial" panose="020B0604020202020204" pitchFamily="34" charset="0"/>
              </a:rPr>
              <a:t>создавать</a:t>
            </a:r>
            <a:r>
              <a:rPr sz="1600" i="1" spc="-17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15" dirty="0">
                <a:latin typeface="Arial" panose="020B0604020202020204" pitchFamily="34" charset="0"/>
                <a:cs typeface="Arial" panose="020B0604020202020204" pitchFamily="34" charset="0"/>
              </a:rPr>
              <a:t>игровой</a:t>
            </a:r>
            <a:r>
              <a:rPr sz="1600" i="1" spc="-15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10" dirty="0"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sz="1600" i="1" spc="-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600" i="1" spc="-40" dirty="0">
                <a:latin typeface="Arial" panose="020B0604020202020204" pitchFamily="34" charset="0"/>
                <a:cs typeface="Arial" panose="020B0604020202020204" pitchFamily="34" charset="0"/>
              </a:rPr>
              <a:t>телеконтент.</a:t>
            </a:r>
            <a:endParaRPr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2568" y="0"/>
            <a:ext cx="5429432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102270"/>
            <a:ext cx="10032437" cy="120032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1" hangingPunct="1">
              <a:defRPr/>
            </a:pPr>
            <a:r>
              <a:rPr lang="ru-RU" sz="3600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КЛЮЧЕВЫЕ ВЫЗОВЫ СОВРЕМЕННОГО ОБЩЕСТВА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0" y="1263650"/>
            <a:ext cx="12192000" cy="489364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marL="342900" indent="-342900">
              <a:buFontTx/>
              <a:buAutoNum type="arabicPeriod"/>
              <a:defRPr/>
            </a:pPr>
            <a:r>
              <a:rPr lang="ru-RU" sz="2400" b="1" dirty="0" err="1">
                <a:solidFill>
                  <a:srgbClr val="002060"/>
                </a:solidFill>
              </a:rPr>
              <a:t>Цифровизация</a:t>
            </a:r>
            <a:r>
              <a:rPr lang="ru-RU" sz="2400" b="1" dirty="0">
                <a:solidFill>
                  <a:srgbClr val="002060"/>
                </a:solidFill>
              </a:rPr>
              <a:t> экономических и общественных отношений </a:t>
            </a:r>
            <a:r>
              <a:rPr lang="ru-RU" sz="2400" b="1" spc="-10" dirty="0">
                <a:latin typeface="Arial"/>
                <a:cs typeface="Arial"/>
              </a:rPr>
              <a:t>(цифровая экономика, роботизация, </a:t>
            </a:r>
            <a:r>
              <a:rPr lang="ru-RU" sz="2400" b="1" spc="-15" dirty="0">
                <a:latin typeface="Arial"/>
                <a:cs typeface="Arial"/>
              </a:rPr>
              <a:t>искусственный </a:t>
            </a:r>
            <a:r>
              <a:rPr lang="ru-RU" sz="2400" b="1" spc="-30" dirty="0">
                <a:latin typeface="Arial"/>
                <a:cs typeface="Arial"/>
              </a:rPr>
              <a:t>интеллект, И</a:t>
            </a:r>
            <a:r>
              <a:rPr lang="ru-RU" sz="2400" b="1" spc="-10" dirty="0">
                <a:latin typeface="Arial"/>
                <a:cs typeface="Arial"/>
              </a:rPr>
              <a:t>нтернет Вещей и пр.)</a:t>
            </a:r>
            <a:endParaRPr lang="ru-RU" sz="2400" dirty="0">
              <a:latin typeface="Arial"/>
              <a:cs typeface="Arial"/>
            </a:endParaRPr>
          </a:p>
          <a:p>
            <a:pPr marL="342900" indent="-342900" eaLnBrk="1" hangingPunct="1">
              <a:buFontTx/>
              <a:buAutoNum type="arabicPeriod"/>
              <a:defRPr/>
            </a:pPr>
            <a:endParaRPr lang="ru-RU" sz="2400" b="1" dirty="0">
              <a:solidFill>
                <a:srgbClr val="002060"/>
              </a:solidFill>
            </a:endParaRPr>
          </a:p>
          <a:p>
            <a:pPr marL="363538" indent="-363538">
              <a:defRPr/>
            </a:pPr>
            <a:r>
              <a:rPr lang="ru-RU" sz="2400" b="1" dirty="0">
                <a:solidFill>
                  <a:srgbClr val="002060"/>
                </a:solidFill>
              </a:rPr>
              <a:t>2. </a:t>
            </a:r>
            <a:r>
              <a:rPr lang="ru-RU" altLang="ru-RU" sz="2400" b="1" dirty="0">
                <a:solidFill>
                  <a:srgbClr val="002060"/>
                </a:solidFill>
              </a:rPr>
              <a:t>Экспоненциальный рост неструктурированных данных </a:t>
            </a:r>
            <a:r>
              <a:rPr lang="ru-RU" altLang="ru-RU" sz="2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ru-RU" altLang="ru-RU" sz="2400" b="1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более 70—80 % от всех данных в организациях — это неструктурированные данные)</a:t>
            </a:r>
            <a:endParaRPr lang="ru-RU" altLang="ru-RU" sz="24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363538" indent="-363538" eaLnBrk="1" hangingPunct="1">
              <a:defRPr/>
            </a:pPr>
            <a:endParaRPr lang="ru-RU" altLang="ru-RU" sz="2400" b="1" dirty="0">
              <a:solidFill>
                <a:srgbClr val="002060"/>
              </a:solidFill>
            </a:endParaRPr>
          </a:p>
          <a:p>
            <a:pPr marL="363538" indent="-363538" eaLnBrk="1" hangingPunct="1">
              <a:defRPr/>
            </a:pPr>
            <a:r>
              <a:rPr lang="ru-RU" altLang="ru-RU" sz="2400" b="1" dirty="0">
                <a:solidFill>
                  <a:srgbClr val="002060"/>
                </a:solidFill>
              </a:rPr>
              <a:t>3. </a:t>
            </a:r>
            <a:r>
              <a:rPr lang="ru-RU" sz="2400" b="1" dirty="0">
                <a:solidFill>
                  <a:srgbClr val="002060"/>
                </a:solidFill>
              </a:rPr>
              <a:t>Конвергенция: материальных  и информационных, информационных и когнитивных  технологий</a:t>
            </a:r>
          </a:p>
          <a:p>
            <a:pPr eaLnBrk="1" hangingPunct="1">
              <a:defRPr/>
            </a:pPr>
            <a:endParaRPr lang="ru-RU" sz="2400" b="1" dirty="0">
              <a:solidFill>
                <a:srgbClr val="002060"/>
              </a:solidFill>
            </a:endParaRPr>
          </a:p>
          <a:p>
            <a:pPr marL="363538" indent="-363538" eaLnBrk="1" hangingPunct="1">
              <a:tabLst>
                <a:tab pos="0" algn="l"/>
              </a:tabLst>
              <a:defRPr/>
            </a:pPr>
            <a:r>
              <a:rPr lang="ru-RU" sz="2400" b="1" dirty="0">
                <a:solidFill>
                  <a:srgbClr val="002060"/>
                </a:solidFill>
              </a:rPr>
              <a:t>               4. </a:t>
            </a:r>
            <a:r>
              <a:rPr lang="ru-RU" sz="2400" b="1" dirty="0" err="1">
                <a:solidFill>
                  <a:srgbClr val="002060"/>
                </a:solidFill>
              </a:rPr>
              <a:t>Кибербезопасность</a:t>
            </a:r>
            <a:endParaRPr lang="ru-RU" sz="2400" b="1" dirty="0">
              <a:solidFill>
                <a:srgbClr val="002060"/>
              </a:solidFill>
            </a:endParaRPr>
          </a:p>
          <a:p>
            <a:pPr marL="363538" indent="-363538" eaLnBrk="1" hangingPunct="1">
              <a:tabLst>
                <a:tab pos="0" algn="l"/>
              </a:tabLst>
              <a:defRPr/>
            </a:pPr>
            <a:endParaRPr lang="ru-RU" sz="2400" b="1" dirty="0">
              <a:solidFill>
                <a:srgbClr val="002060"/>
              </a:solidFill>
            </a:endParaRPr>
          </a:p>
          <a:p>
            <a:pPr marL="363538" indent="-363538" eaLnBrk="1" hangingPunct="1">
              <a:tabLst>
                <a:tab pos="0" algn="l"/>
              </a:tabLst>
              <a:defRPr/>
            </a:pPr>
            <a:r>
              <a:rPr lang="ru-RU" sz="2400" b="1" dirty="0">
                <a:solidFill>
                  <a:srgbClr val="002060"/>
                </a:solidFill>
              </a:rPr>
              <a:t>               5. Профессиональная </a:t>
            </a:r>
          </a:p>
          <a:p>
            <a:pPr marL="363538" indent="-363538" eaLnBrk="1" hangingPunct="1">
              <a:tabLst>
                <a:tab pos="0" algn="l"/>
              </a:tabLst>
              <a:defRPr/>
            </a:pPr>
            <a:r>
              <a:rPr lang="ru-RU" sz="2400" b="1" dirty="0">
                <a:solidFill>
                  <a:srgbClr val="002060"/>
                </a:solidFill>
              </a:rPr>
              <a:t>                        деятельность</a:t>
            </a:r>
          </a:p>
        </p:txBody>
      </p:sp>
      <p:pic>
        <p:nvPicPr>
          <p:cNvPr id="5124" name="Рисунок 5" descr="https://www.osp.ru/FileStorage/DOCUMENTS_ILLUSTRATIONS/13145523/original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829800" y="0"/>
            <a:ext cx="2362200" cy="1404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5" name="Рисунок 4"/>
          <p:cNvPicPr>
            <a:picLocks noChangeAspect="1" noChangeArrowheads="1"/>
          </p:cNvPicPr>
          <p:nvPr/>
        </p:nvPicPr>
        <p:blipFill>
          <a:blip r:embed="rId4" cstate="print"/>
          <a:srcRect l="36629" t="7666" r="35559" b="3384"/>
          <a:stretch>
            <a:fillRect/>
          </a:stretch>
        </p:blipFill>
        <p:spPr bwMode="auto">
          <a:xfrm>
            <a:off x="0" y="5056188"/>
            <a:ext cx="1447800" cy="1839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6" name="Рисунок 9"/>
          <p:cNvPicPr>
            <a:picLocks noChangeAspect="1" noChangeArrowheads="1"/>
          </p:cNvPicPr>
          <p:nvPr/>
        </p:nvPicPr>
        <p:blipFill>
          <a:blip r:embed="rId5" cstate="print"/>
          <a:srcRect l="27885" t="18243" r="54808" b="48119"/>
          <a:stretch>
            <a:fillRect/>
          </a:stretch>
        </p:blipFill>
        <p:spPr bwMode="auto">
          <a:xfrm>
            <a:off x="10576984" y="1404938"/>
            <a:ext cx="1615016" cy="1128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7" name="Рисунок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516285" y="4968876"/>
            <a:ext cx="4627033" cy="192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 rot="16200000">
            <a:off x="-2762591" y="2762593"/>
            <a:ext cx="6850746" cy="1325563"/>
          </a:xfrm>
        </p:spPr>
        <p:txBody>
          <a:bodyPr/>
          <a:lstStyle/>
          <a:p>
            <a:pPr algn="ctr"/>
            <a:r>
              <a:rPr lang="en-US" b="1" dirty="0" err="1">
                <a:latin typeface="Arial Black" panose="020B0A04020102020204" pitchFamily="34" charset="0"/>
              </a:rPr>
              <a:t>SketchUp</a:t>
            </a:r>
            <a:endParaRPr lang="ru-RU" b="1" dirty="0">
              <a:latin typeface="Arial Black" panose="020B0A04020102020204" pitchFamily="34" charset="0"/>
            </a:endParaRPr>
          </a:p>
        </p:txBody>
      </p:sp>
      <p:pic>
        <p:nvPicPr>
          <p:cNvPr id="12288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3999" y="-2"/>
            <a:ext cx="5312229" cy="6858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884" name="Picture 4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62"/>
          <a:stretch/>
        </p:blipFill>
        <p:spPr bwMode="auto">
          <a:xfrm>
            <a:off x="6212115" y="116114"/>
            <a:ext cx="5299014" cy="51598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9143" y="2014764"/>
            <a:ext cx="5889943" cy="48432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8339023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99272" y="185652"/>
            <a:ext cx="5694218" cy="739833"/>
          </a:xfrm>
          <a:solidFill>
            <a:schemeClr val="accent3">
              <a:lumMod val="20000"/>
              <a:lumOff val="80000"/>
            </a:schemeClr>
          </a:solidFill>
        </p:spPr>
        <p:txBody>
          <a:bodyPr>
            <a:normAutofit fontScale="90000"/>
          </a:bodyPr>
          <a:lstStyle/>
          <a:p>
            <a:r>
              <a:rPr lang="ru-RU" sz="2800" b="1" dirty="0">
                <a:solidFill>
                  <a:srgbClr val="002060"/>
                </a:solidFill>
                <a:latin typeface="Arial Black" panose="020B0A04020102020204" pitchFamily="34" charset="0"/>
              </a:rPr>
              <a:t>ПРОЕКТНОЕ ОБУЧЕНИЕ </a:t>
            </a:r>
            <a:br>
              <a:rPr lang="ru-RU" sz="2800" b="1" dirty="0">
                <a:solidFill>
                  <a:srgbClr val="002060"/>
                </a:solidFill>
                <a:latin typeface="Arial Black" panose="020B0A04020102020204" pitchFamily="34" charset="0"/>
              </a:rPr>
            </a:br>
            <a:r>
              <a:rPr lang="ru-RU" sz="2800" b="1" dirty="0">
                <a:solidFill>
                  <a:srgbClr val="002060"/>
                </a:solidFill>
                <a:latin typeface="Arial Black" panose="020B0A04020102020204" pitchFamily="34" charset="0"/>
              </a:rPr>
              <a:t>и</a:t>
            </a:r>
            <a:r>
              <a:rPr lang="en-US" sz="28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ru-RU" sz="2800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en-US" sz="2800" b="1" dirty="0">
                <a:solidFill>
                  <a:srgbClr val="002060"/>
                </a:solidFill>
                <a:latin typeface="Arial Black" panose="020B0A04020102020204" pitchFamily="34" charset="0"/>
              </a:rPr>
              <a:t>3D - </a:t>
            </a:r>
            <a:r>
              <a:rPr lang="ru-RU" sz="2800" b="1" dirty="0">
                <a:solidFill>
                  <a:srgbClr val="002060"/>
                </a:solidFill>
                <a:latin typeface="Arial Black" panose="020B0A04020102020204" pitchFamily="34" charset="0"/>
              </a:rPr>
              <a:t>моделирование 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490" y="0"/>
            <a:ext cx="3998510" cy="4475018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99011" y="1664938"/>
            <a:ext cx="659753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err="1">
                <a:latin typeface="Arial" panose="020B0604020202020204" pitchFamily="34" charset="0"/>
                <a:cs typeface="Arial" panose="020B0604020202020204" pitchFamily="34" charset="0"/>
              </a:rPr>
              <a:t>SketchUp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 — программа для 3D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моделирования. 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i="1" dirty="0">
                <a:latin typeface="Arial" panose="020B0604020202020204" pitchFamily="34" charset="0"/>
                <a:cs typeface="Arial" panose="020B0604020202020204" pitchFamily="34" charset="0"/>
              </a:rPr>
              <a:t>Позволяет создавать относительно простые объекты, такие как: архитектурные строения, предметы мебели, интерьера и т.д.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47" r="9144" b="6902"/>
          <a:stretch/>
        </p:blipFill>
        <p:spPr bwMode="auto">
          <a:xfrm>
            <a:off x="1547873" y="3476625"/>
            <a:ext cx="4372281" cy="25450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6976" y="3476625"/>
            <a:ext cx="6529552" cy="3381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821973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7456805" y="2747644"/>
            <a:ext cx="4470400" cy="1826895"/>
          </a:xfrm>
          <a:prstGeom prst="rect">
            <a:avLst/>
          </a:prstGeom>
        </p:spPr>
        <p:txBody>
          <a:bodyPr vert="horz" wrap="square" lIns="0" tIns="69215" rIns="0" bIns="0" rtlCol="0">
            <a:spAutoFit/>
          </a:bodyPr>
          <a:lstStyle/>
          <a:p>
            <a:pPr marL="12065" marR="5080" algn="ctr">
              <a:lnSpc>
                <a:spcPts val="3450"/>
              </a:lnSpc>
              <a:spcBef>
                <a:spcPts val="545"/>
              </a:spcBef>
            </a:pPr>
            <a:r>
              <a:rPr sz="3200" spc="-30" dirty="0">
                <a:latin typeface="Arial Black"/>
                <a:cs typeface="Arial Black"/>
              </a:rPr>
              <a:t>ИН</a:t>
            </a:r>
            <a:r>
              <a:rPr sz="3200" spc="-5" dirty="0">
                <a:latin typeface="Arial Black"/>
                <a:cs typeface="Arial Black"/>
              </a:rPr>
              <a:t>Т</a:t>
            </a:r>
            <a:r>
              <a:rPr sz="3200" spc="10" dirty="0">
                <a:latin typeface="Arial Black"/>
                <a:cs typeface="Arial Black"/>
              </a:rPr>
              <a:t>Е</a:t>
            </a:r>
            <a:r>
              <a:rPr sz="3200" spc="-15" dirty="0">
                <a:latin typeface="Arial Black"/>
                <a:cs typeface="Arial Black"/>
              </a:rPr>
              <a:t>ЛЛ</a:t>
            </a:r>
            <a:r>
              <a:rPr sz="3200" spc="-5" dirty="0">
                <a:latin typeface="Arial Black"/>
                <a:cs typeface="Arial Black"/>
              </a:rPr>
              <a:t>ЕКТ</a:t>
            </a:r>
            <a:r>
              <a:rPr sz="3200" spc="-30" dirty="0">
                <a:latin typeface="Arial Black"/>
                <a:cs typeface="Arial Black"/>
              </a:rPr>
              <a:t>-</a:t>
            </a:r>
            <a:r>
              <a:rPr sz="3200" spc="-20" dirty="0">
                <a:latin typeface="Arial Black"/>
                <a:cs typeface="Arial Black"/>
              </a:rPr>
              <a:t>К</a:t>
            </a:r>
            <a:r>
              <a:rPr sz="3200" spc="-10" dirty="0">
                <a:latin typeface="Arial Black"/>
                <a:cs typeface="Arial Black"/>
              </a:rPr>
              <a:t>А</a:t>
            </a:r>
            <a:r>
              <a:rPr sz="3200" spc="-5" dirty="0">
                <a:latin typeface="Arial Black"/>
                <a:cs typeface="Arial Black"/>
              </a:rPr>
              <a:t>Р</a:t>
            </a:r>
            <a:r>
              <a:rPr sz="3200" spc="10" dirty="0">
                <a:latin typeface="Arial Black"/>
                <a:cs typeface="Arial Black"/>
              </a:rPr>
              <a:t>Т</a:t>
            </a:r>
            <a:r>
              <a:rPr sz="3200" dirty="0">
                <a:latin typeface="Arial Black"/>
                <a:cs typeface="Arial Black"/>
              </a:rPr>
              <a:t>А  </a:t>
            </a:r>
            <a:r>
              <a:rPr sz="3200" spc="-15" dirty="0">
                <a:latin typeface="Arial Black"/>
                <a:cs typeface="Arial Black"/>
              </a:rPr>
              <a:t>ПОЭТАПНОЙ</a:t>
            </a:r>
            <a:endParaRPr sz="3200" dirty="0">
              <a:latin typeface="Arial Black"/>
              <a:cs typeface="Arial Black"/>
            </a:endParaRPr>
          </a:p>
          <a:p>
            <a:pPr marL="12065" algn="ctr">
              <a:lnSpc>
                <a:spcPts val="3195"/>
              </a:lnSpc>
            </a:pPr>
            <a:r>
              <a:rPr sz="3200" spc="-10" dirty="0">
                <a:latin typeface="Arial Black"/>
                <a:cs typeface="Arial Black"/>
              </a:rPr>
              <a:t>РАБОТЫ</a:t>
            </a:r>
            <a:r>
              <a:rPr sz="3200" spc="-45" dirty="0">
                <a:latin typeface="Arial Black"/>
                <a:cs typeface="Arial Black"/>
              </a:rPr>
              <a:t> </a:t>
            </a:r>
            <a:r>
              <a:rPr sz="3200" spc="20" dirty="0">
                <a:latin typeface="Arial Black"/>
                <a:cs typeface="Arial Black"/>
              </a:rPr>
              <a:t>над</a:t>
            </a:r>
            <a:endParaRPr sz="3200" dirty="0">
              <a:latin typeface="Arial Black"/>
              <a:cs typeface="Arial Black"/>
            </a:endParaRPr>
          </a:p>
          <a:p>
            <a:pPr algn="ctr">
              <a:lnSpc>
                <a:spcPts val="3640"/>
              </a:lnSpc>
            </a:pPr>
            <a:r>
              <a:rPr sz="3200" spc="-10" dirty="0">
                <a:latin typeface="Arial Black"/>
                <a:cs typeface="Arial Black"/>
              </a:rPr>
              <a:t>ПРОЕКТОМ</a:t>
            </a:r>
            <a:endParaRPr sz="3200" dirty="0">
              <a:latin typeface="Arial Black"/>
              <a:cs typeface="Arial Black"/>
            </a:endParaRPr>
          </a:p>
        </p:txBody>
      </p:sp>
      <p:pic>
        <p:nvPicPr>
          <p:cNvPr id="3" name="object 3"/>
          <p:cNvPicPr/>
          <p:nvPr/>
        </p:nvPicPr>
        <p:blipFill rotWithShape="1">
          <a:blip r:embed="rId2" cstate="print"/>
          <a:srcRect r="3687"/>
          <a:stretch/>
        </p:blipFill>
        <p:spPr>
          <a:xfrm>
            <a:off x="5268792" y="0"/>
            <a:ext cx="6923208" cy="6826248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296333" y="944327"/>
            <a:ext cx="4972459" cy="95154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12065" marR="5080" algn="just">
              <a:lnSpc>
                <a:spcPts val="3450"/>
              </a:lnSpc>
              <a:spcBef>
                <a:spcPts val="545"/>
              </a:spcBef>
            </a:pPr>
            <a:r>
              <a:rPr lang="ru-RU" sz="2400" b="1" spc="-30" dirty="0">
                <a:solidFill>
                  <a:srgbClr val="002060"/>
                </a:solidFill>
                <a:cs typeface="Arial Black"/>
              </a:rPr>
              <a:t>ИН</a:t>
            </a:r>
            <a:r>
              <a:rPr lang="ru-RU" sz="2400" b="1" spc="-5" dirty="0">
                <a:solidFill>
                  <a:srgbClr val="002060"/>
                </a:solidFill>
                <a:cs typeface="Arial Black"/>
              </a:rPr>
              <a:t>Т</a:t>
            </a:r>
            <a:r>
              <a:rPr lang="ru-RU" sz="2400" b="1" spc="10" dirty="0">
                <a:solidFill>
                  <a:srgbClr val="002060"/>
                </a:solidFill>
                <a:cs typeface="Arial Black"/>
              </a:rPr>
              <a:t>Е</a:t>
            </a:r>
            <a:r>
              <a:rPr lang="ru-RU" sz="2400" b="1" spc="-15" dirty="0">
                <a:solidFill>
                  <a:srgbClr val="002060"/>
                </a:solidFill>
                <a:cs typeface="Arial Black"/>
              </a:rPr>
              <a:t>ЛЛ</a:t>
            </a:r>
            <a:r>
              <a:rPr lang="ru-RU" sz="2400" b="1" spc="-5" dirty="0">
                <a:solidFill>
                  <a:srgbClr val="002060"/>
                </a:solidFill>
                <a:cs typeface="Arial Black"/>
              </a:rPr>
              <a:t>ЕКТ</a:t>
            </a:r>
            <a:r>
              <a:rPr lang="ru-RU" sz="2400" b="1" spc="-30" dirty="0">
                <a:solidFill>
                  <a:srgbClr val="002060"/>
                </a:solidFill>
                <a:cs typeface="Arial Black"/>
              </a:rPr>
              <a:t>-</a:t>
            </a:r>
            <a:r>
              <a:rPr lang="ru-RU" sz="2400" b="1" spc="-20" dirty="0">
                <a:solidFill>
                  <a:srgbClr val="002060"/>
                </a:solidFill>
                <a:cs typeface="Arial Black"/>
              </a:rPr>
              <a:t>К</a:t>
            </a:r>
            <a:r>
              <a:rPr lang="ru-RU" sz="2400" b="1" spc="-10" dirty="0">
                <a:solidFill>
                  <a:srgbClr val="002060"/>
                </a:solidFill>
                <a:cs typeface="Arial Black"/>
              </a:rPr>
              <a:t>А</a:t>
            </a:r>
            <a:r>
              <a:rPr lang="ru-RU" sz="2400" b="1" spc="-5" dirty="0">
                <a:solidFill>
                  <a:srgbClr val="002060"/>
                </a:solidFill>
                <a:cs typeface="Arial Black"/>
              </a:rPr>
              <a:t>Р</a:t>
            </a:r>
            <a:r>
              <a:rPr lang="ru-RU" sz="2400" b="1" spc="10" dirty="0">
                <a:solidFill>
                  <a:srgbClr val="002060"/>
                </a:solidFill>
                <a:cs typeface="Arial Black"/>
              </a:rPr>
              <a:t>Т</a:t>
            </a:r>
            <a:r>
              <a:rPr lang="ru-RU" sz="2400" b="1" dirty="0">
                <a:solidFill>
                  <a:srgbClr val="002060"/>
                </a:solidFill>
                <a:cs typeface="Arial Black"/>
              </a:rPr>
              <a:t>А  </a:t>
            </a:r>
            <a:r>
              <a:rPr lang="ru-RU" sz="2400" b="1" spc="-15" dirty="0">
                <a:solidFill>
                  <a:srgbClr val="002060"/>
                </a:solidFill>
                <a:cs typeface="Arial Black"/>
              </a:rPr>
              <a:t>ПОЭТАПНОЙ</a:t>
            </a:r>
            <a:endParaRPr lang="ru-RU" sz="2400" b="1" dirty="0">
              <a:solidFill>
                <a:srgbClr val="002060"/>
              </a:solidFill>
              <a:cs typeface="Arial Black"/>
            </a:endParaRPr>
          </a:p>
          <a:p>
            <a:pPr marL="12065" algn="just">
              <a:lnSpc>
                <a:spcPts val="3195"/>
              </a:lnSpc>
            </a:pPr>
            <a:r>
              <a:rPr lang="ru-RU" sz="2400" b="1" spc="-10" dirty="0">
                <a:solidFill>
                  <a:srgbClr val="002060"/>
                </a:solidFill>
                <a:cs typeface="Arial Black"/>
              </a:rPr>
              <a:t>РАБОТЫ</a:t>
            </a:r>
            <a:r>
              <a:rPr lang="ru-RU" sz="2400" b="1" spc="-45" dirty="0">
                <a:solidFill>
                  <a:srgbClr val="002060"/>
                </a:solidFill>
                <a:cs typeface="Arial Black"/>
              </a:rPr>
              <a:t> НАД  </a:t>
            </a:r>
            <a:r>
              <a:rPr lang="ru-RU" sz="2400" b="1" spc="-10" dirty="0">
                <a:solidFill>
                  <a:srgbClr val="002060"/>
                </a:solidFill>
                <a:cs typeface="Arial Black"/>
              </a:rPr>
              <a:t>ПРОЕКТОМ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5" name="Скругленная прямоугольная выноска 4"/>
          <p:cNvSpPr/>
          <p:nvPr/>
        </p:nvSpPr>
        <p:spPr>
          <a:xfrm>
            <a:off x="138545" y="3768435"/>
            <a:ext cx="4682837" cy="2770909"/>
          </a:xfrm>
          <a:prstGeom prst="wedgeRoundRectCallout">
            <a:avLst>
              <a:gd name="adj1" fmla="val 60184"/>
              <a:gd name="adj2" fmla="val -30274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i="1" dirty="0">
                <a:latin typeface="Arial" panose="020B0604020202020204" pitchFamily="34" charset="0"/>
                <a:cs typeface="Arial" panose="020B0604020202020204" pitchFamily="34" charset="0"/>
              </a:rPr>
              <a:t>Ментальные карты </a:t>
            </a:r>
          </a:p>
          <a:p>
            <a:pPr algn="ctr"/>
            <a:r>
              <a:rPr lang="ru-RU" sz="1600" i="1" dirty="0">
                <a:latin typeface="Arial" panose="020B0604020202020204" pitchFamily="34" charset="0"/>
                <a:cs typeface="Arial" panose="020B0604020202020204" pitchFamily="34" charset="0"/>
              </a:rPr>
              <a:t>(интеллект-карты, </a:t>
            </a:r>
            <a:r>
              <a:rPr lang="ru-RU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mind</a:t>
            </a:r>
            <a:r>
              <a:rPr lang="ru-RU" sz="16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map</a:t>
            </a:r>
            <a:r>
              <a:rPr lang="ru-RU" sz="1600" i="1" dirty="0">
                <a:latin typeface="Arial" panose="020B0604020202020204" pitchFamily="34" charset="0"/>
                <a:cs typeface="Arial" panose="020B0604020202020204" pitchFamily="34" charset="0"/>
              </a:rPr>
              <a:t>) </a:t>
            </a:r>
            <a:r>
              <a:rPr lang="ru-RU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—</a:t>
            </a:r>
            <a:r>
              <a:rPr lang="ru-RU" sz="1600" i="1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метод</a:t>
            </a:r>
            <a:r>
              <a:rPr lang="ru-RU" sz="1600" i="1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организации</a:t>
            </a:r>
            <a:r>
              <a:rPr lang="ru-RU" sz="1600" i="1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идей, задач, </a:t>
            </a:r>
          </a:p>
          <a:p>
            <a:pPr algn="ctr"/>
            <a:r>
              <a:rPr lang="ru-RU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концепций</a:t>
            </a:r>
            <a:r>
              <a:rPr lang="ru-RU" sz="1600" i="1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lang="ru-RU" sz="1600" i="1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любой</a:t>
            </a:r>
            <a:r>
              <a:rPr lang="ru-RU" sz="1600" i="1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другой</a:t>
            </a:r>
            <a:r>
              <a:rPr lang="ru-RU" sz="1600" i="1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информации</a:t>
            </a:r>
            <a:r>
              <a:rPr lang="ru-RU" sz="1600" i="1" dirty="0">
                <a:latin typeface="Arial" panose="020B0604020202020204" pitchFamily="34" charset="0"/>
                <a:cs typeface="Arial" panose="020B0604020202020204" pitchFamily="34" charset="0"/>
              </a:rPr>
              <a:t>. </a:t>
            </a:r>
          </a:p>
          <a:p>
            <a:pPr algn="ctr"/>
            <a:r>
              <a:rPr lang="ru-RU" sz="1600" i="1" dirty="0">
                <a:latin typeface="Arial" panose="020B0604020202020204" pitchFamily="34" charset="0"/>
                <a:cs typeface="Arial" panose="020B0604020202020204" pitchFamily="34" charset="0"/>
              </a:rPr>
              <a:t>Интеллект-карты помогают визуально структурировать, запоминать и объяснять сложные вещи. Например, записать тезисы выступления, составить учебный план и многое другое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 cstate="print"/>
          <a:srcRect l="5104" t="1832" r="1726"/>
          <a:stretch/>
        </p:blipFill>
        <p:spPr>
          <a:xfrm>
            <a:off x="5419159" y="401783"/>
            <a:ext cx="6622473" cy="6137562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54" name="Группа 53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1" name="Прямая соединительная линия 7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0" name="TextBox 39"/>
          <p:cNvSpPr txBox="1"/>
          <p:nvPr/>
        </p:nvSpPr>
        <p:spPr>
          <a:xfrm>
            <a:off x="9493058" y="1677982"/>
            <a:ext cx="2459970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lnSpc>
                <a:spcPct val="85000"/>
              </a:lnSpc>
              <a:defRPr b="1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/>
                <a:hlinkClick r:id="rId3"/>
              </a:rPr>
              <a:t>https://uchitel.club/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4" cstate="print"/>
          <a:srcRect t="4558"/>
          <a:stretch/>
        </p:blipFill>
        <p:spPr>
          <a:xfrm>
            <a:off x="295718" y="1011115"/>
            <a:ext cx="8637878" cy="4956907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796537" y="183750"/>
            <a:ext cx="9697077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lnSpc>
                <a:spcPct val="85000"/>
              </a:lnSpc>
              <a:defRPr b="1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/>
              </a:rPr>
              <a:t>Просвещение. Поддержка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098889" y="3650701"/>
            <a:ext cx="3854139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285750" lvl="0" indent="-285750">
              <a:spcBef>
                <a:spcPts val="1800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Портал, на котором собраны материалы в  помощь учителям и родителям для организации обучения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Консультации при выполнении домашних заданий в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видеоформате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 Обмен лучшими практиками, их апробация и распространение в сотрудничестве с органами управления образованием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</a:b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28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5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129038" y="1771118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862905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6" y="202455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4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6" y="1436758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2" y="203634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3" y="203634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4" y="203634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8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4" y="203634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9050911" y="202455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3" y="1436758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4" y="1436758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8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2" y="1436758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4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8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4" y="1436758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Freeform 32"/>
          <p:cNvSpPr>
            <a:spLocks noEditPoints="1"/>
          </p:cNvSpPr>
          <p:nvPr/>
        </p:nvSpPr>
        <p:spPr bwMode="auto">
          <a:xfrm>
            <a:off x="8017892" y="1855717"/>
            <a:ext cx="591581" cy="444227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610324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961577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961577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1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4" y="560565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0" name="Freeform 38"/>
          <p:cNvSpPr>
            <a:spLocks noEditPoints="1"/>
          </p:cNvSpPr>
          <p:nvPr/>
        </p:nvSpPr>
        <p:spPr bwMode="auto">
          <a:xfrm>
            <a:off x="11074902" y="1789685"/>
            <a:ext cx="384377" cy="576291"/>
          </a:xfrm>
          <a:custGeom>
            <a:avLst/>
            <a:gdLst>
              <a:gd name="T0" fmla="*/ 315 w 559"/>
              <a:gd name="T1" fmla="*/ 314 h 838"/>
              <a:gd name="T2" fmla="*/ 384 w 559"/>
              <a:gd name="T3" fmla="*/ 314 h 838"/>
              <a:gd name="T4" fmla="*/ 384 w 559"/>
              <a:gd name="T5" fmla="*/ 244 h 838"/>
              <a:gd name="T6" fmla="*/ 315 w 559"/>
              <a:gd name="T7" fmla="*/ 244 h 838"/>
              <a:gd name="T8" fmla="*/ 315 w 559"/>
              <a:gd name="T9" fmla="*/ 314 h 838"/>
              <a:gd name="T10" fmla="*/ 175 w 559"/>
              <a:gd name="T11" fmla="*/ 314 h 838"/>
              <a:gd name="T12" fmla="*/ 245 w 559"/>
              <a:gd name="T13" fmla="*/ 314 h 838"/>
              <a:gd name="T14" fmla="*/ 245 w 559"/>
              <a:gd name="T15" fmla="*/ 244 h 838"/>
              <a:gd name="T16" fmla="*/ 175 w 559"/>
              <a:gd name="T17" fmla="*/ 244 h 838"/>
              <a:gd name="T18" fmla="*/ 175 w 559"/>
              <a:gd name="T19" fmla="*/ 314 h 838"/>
              <a:gd name="T20" fmla="*/ 175 w 559"/>
              <a:gd name="T21" fmla="*/ 524 h 838"/>
              <a:gd name="T22" fmla="*/ 105 w 559"/>
              <a:gd name="T23" fmla="*/ 524 h 838"/>
              <a:gd name="T24" fmla="*/ 314 w 559"/>
              <a:gd name="T25" fmla="*/ 733 h 838"/>
              <a:gd name="T26" fmla="*/ 314 w 559"/>
              <a:gd name="T27" fmla="*/ 663 h 838"/>
              <a:gd name="T28" fmla="*/ 175 w 559"/>
              <a:gd name="T29" fmla="*/ 524 h 838"/>
              <a:gd name="T30" fmla="*/ 349 w 559"/>
              <a:gd name="T31" fmla="*/ 349 h 838"/>
              <a:gd name="T32" fmla="*/ 210 w 559"/>
              <a:gd name="T33" fmla="*/ 349 h 838"/>
              <a:gd name="T34" fmla="*/ 140 w 559"/>
              <a:gd name="T35" fmla="*/ 279 h 838"/>
              <a:gd name="T36" fmla="*/ 210 w 559"/>
              <a:gd name="T37" fmla="*/ 209 h 838"/>
              <a:gd name="T38" fmla="*/ 256 w 559"/>
              <a:gd name="T39" fmla="*/ 228 h 838"/>
              <a:gd name="T40" fmla="*/ 280 w 559"/>
              <a:gd name="T41" fmla="*/ 249 h 838"/>
              <a:gd name="T42" fmla="*/ 303 w 559"/>
              <a:gd name="T43" fmla="*/ 228 h 838"/>
              <a:gd name="T44" fmla="*/ 349 w 559"/>
              <a:gd name="T45" fmla="*/ 209 h 838"/>
              <a:gd name="T46" fmla="*/ 419 w 559"/>
              <a:gd name="T47" fmla="*/ 279 h 838"/>
              <a:gd name="T48" fmla="*/ 349 w 559"/>
              <a:gd name="T49" fmla="*/ 349 h 838"/>
              <a:gd name="T50" fmla="*/ 349 w 559"/>
              <a:gd name="T51" fmla="*/ 140 h 838"/>
              <a:gd name="T52" fmla="*/ 280 w 559"/>
              <a:gd name="T53" fmla="*/ 159 h 838"/>
              <a:gd name="T54" fmla="*/ 210 w 559"/>
              <a:gd name="T55" fmla="*/ 140 h 838"/>
              <a:gd name="T56" fmla="*/ 70 w 559"/>
              <a:gd name="T57" fmla="*/ 279 h 838"/>
              <a:gd name="T58" fmla="*/ 210 w 559"/>
              <a:gd name="T59" fmla="*/ 419 h 838"/>
              <a:gd name="T60" fmla="*/ 245 w 559"/>
              <a:gd name="T61" fmla="*/ 419 h 838"/>
              <a:gd name="T62" fmla="*/ 245 w 559"/>
              <a:gd name="T63" fmla="*/ 454 h 838"/>
              <a:gd name="T64" fmla="*/ 314 w 559"/>
              <a:gd name="T65" fmla="*/ 454 h 838"/>
              <a:gd name="T66" fmla="*/ 314 w 559"/>
              <a:gd name="T67" fmla="*/ 419 h 838"/>
              <a:gd name="T68" fmla="*/ 349 w 559"/>
              <a:gd name="T69" fmla="*/ 419 h 838"/>
              <a:gd name="T70" fmla="*/ 489 w 559"/>
              <a:gd name="T71" fmla="*/ 279 h 838"/>
              <a:gd name="T72" fmla="*/ 349 w 559"/>
              <a:gd name="T73" fmla="*/ 140 h 838"/>
              <a:gd name="T74" fmla="*/ 489 w 559"/>
              <a:gd name="T75" fmla="*/ 768 h 838"/>
              <a:gd name="T76" fmla="*/ 317 w 559"/>
              <a:gd name="T77" fmla="*/ 768 h 838"/>
              <a:gd name="T78" fmla="*/ 70 w 559"/>
              <a:gd name="T79" fmla="*/ 522 h 838"/>
              <a:gd name="T80" fmla="*/ 70 w 559"/>
              <a:gd name="T81" fmla="*/ 279 h 838"/>
              <a:gd name="T82" fmla="*/ 279 w 559"/>
              <a:gd name="T83" fmla="*/ 70 h 838"/>
              <a:gd name="T84" fmla="*/ 489 w 559"/>
              <a:gd name="T85" fmla="*/ 279 h 838"/>
              <a:gd name="T86" fmla="*/ 489 w 559"/>
              <a:gd name="T87" fmla="*/ 768 h 838"/>
              <a:gd name="T88" fmla="*/ 279 w 559"/>
              <a:gd name="T89" fmla="*/ 0 h 838"/>
              <a:gd name="T90" fmla="*/ 0 w 559"/>
              <a:gd name="T91" fmla="*/ 279 h 838"/>
              <a:gd name="T92" fmla="*/ 0 w 559"/>
              <a:gd name="T93" fmla="*/ 522 h 838"/>
              <a:gd name="T94" fmla="*/ 317 w 559"/>
              <a:gd name="T95" fmla="*/ 838 h 838"/>
              <a:gd name="T96" fmla="*/ 559 w 559"/>
              <a:gd name="T97" fmla="*/ 838 h 838"/>
              <a:gd name="T98" fmla="*/ 559 w 559"/>
              <a:gd name="T99" fmla="*/ 279 h 838"/>
              <a:gd name="T100" fmla="*/ 279 w 559"/>
              <a:gd name="T101" fmla="*/ 0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9" h="838">
                <a:moveTo>
                  <a:pt x="315" y="314"/>
                </a:moveTo>
                <a:lnTo>
                  <a:pt x="384" y="314"/>
                </a:lnTo>
                <a:lnTo>
                  <a:pt x="384" y="244"/>
                </a:lnTo>
                <a:lnTo>
                  <a:pt x="315" y="244"/>
                </a:lnTo>
                <a:lnTo>
                  <a:pt x="315" y="314"/>
                </a:lnTo>
                <a:close/>
                <a:moveTo>
                  <a:pt x="175" y="314"/>
                </a:moveTo>
                <a:lnTo>
                  <a:pt x="245" y="314"/>
                </a:lnTo>
                <a:lnTo>
                  <a:pt x="245" y="244"/>
                </a:lnTo>
                <a:lnTo>
                  <a:pt x="175" y="244"/>
                </a:lnTo>
                <a:lnTo>
                  <a:pt x="175" y="314"/>
                </a:lnTo>
                <a:close/>
                <a:moveTo>
                  <a:pt x="175" y="524"/>
                </a:moveTo>
                <a:lnTo>
                  <a:pt x="105" y="524"/>
                </a:lnTo>
                <a:cubicBezTo>
                  <a:pt x="105" y="628"/>
                  <a:pt x="210" y="733"/>
                  <a:pt x="314" y="733"/>
                </a:cubicBezTo>
                <a:lnTo>
                  <a:pt x="314" y="663"/>
                </a:lnTo>
                <a:cubicBezTo>
                  <a:pt x="245" y="663"/>
                  <a:pt x="175" y="594"/>
                  <a:pt x="175" y="524"/>
                </a:cubicBezTo>
                <a:close/>
                <a:moveTo>
                  <a:pt x="349" y="349"/>
                </a:moveTo>
                <a:lnTo>
                  <a:pt x="210" y="349"/>
                </a:lnTo>
                <a:cubicBezTo>
                  <a:pt x="171" y="349"/>
                  <a:pt x="140" y="318"/>
                  <a:pt x="140" y="279"/>
                </a:cubicBezTo>
                <a:cubicBezTo>
                  <a:pt x="140" y="241"/>
                  <a:pt x="171" y="209"/>
                  <a:pt x="210" y="209"/>
                </a:cubicBezTo>
                <a:cubicBezTo>
                  <a:pt x="227" y="209"/>
                  <a:pt x="243" y="216"/>
                  <a:pt x="256" y="228"/>
                </a:cubicBezTo>
                <a:lnTo>
                  <a:pt x="280" y="249"/>
                </a:lnTo>
                <a:lnTo>
                  <a:pt x="303" y="228"/>
                </a:lnTo>
                <a:cubicBezTo>
                  <a:pt x="316" y="216"/>
                  <a:pt x="332" y="209"/>
                  <a:pt x="349" y="209"/>
                </a:cubicBezTo>
                <a:cubicBezTo>
                  <a:pt x="388" y="209"/>
                  <a:pt x="419" y="241"/>
                  <a:pt x="419" y="279"/>
                </a:cubicBezTo>
                <a:cubicBezTo>
                  <a:pt x="419" y="318"/>
                  <a:pt x="388" y="349"/>
                  <a:pt x="349" y="349"/>
                </a:cubicBezTo>
                <a:close/>
                <a:moveTo>
                  <a:pt x="349" y="140"/>
                </a:moveTo>
                <a:cubicBezTo>
                  <a:pt x="325" y="140"/>
                  <a:pt x="301" y="146"/>
                  <a:pt x="280" y="159"/>
                </a:cubicBezTo>
                <a:cubicBezTo>
                  <a:pt x="258" y="146"/>
                  <a:pt x="234" y="140"/>
                  <a:pt x="210" y="140"/>
                </a:cubicBezTo>
                <a:cubicBezTo>
                  <a:pt x="133" y="140"/>
                  <a:pt x="70" y="202"/>
                  <a:pt x="70" y="279"/>
                </a:cubicBezTo>
                <a:cubicBezTo>
                  <a:pt x="70" y="356"/>
                  <a:pt x="133" y="419"/>
                  <a:pt x="210" y="419"/>
                </a:cubicBezTo>
                <a:lnTo>
                  <a:pt x="245" y="419"/>
                </a:lnTo>
                <a:lnTo>
                  <a:pt x="245" y="454"/>
                </a:lnTo>
                <a:lnTo>
                  <a:pt x="314" y="454"/>
                </a:lnTo>
                <a:lnTo>
                  <a:pt x="314" y="419"/>
                </a:lnTo>
                <a:lnTo>
                  <a:pt x="349" y="419"/>
                </a:lnTo>
                <a:cubicBezTo>
                  <a:pt x="426" y="419"/>
                  <a:pt x="489" y="356"/>
                  <a:pt x="489" y="279"/>
                </a:cubicBezTo>
                <a:cubicBezTo>
                  <a:pt x="489" y="202"/>
                  <a:pt x="426" y="140"/>
                  <a:pt x="349" y="140"/>
                </a:cubicBezTo>
                <a:close/>
                <a:moveTo>
                  <a:pt x="489" y="768"/>
                </a:moveTo>
                <a:lnTo>
                  <a:pt x="317" y="768"/>
                </a:lnTo>
                <a:cubicBezTo>
                  <a:pt x="181" y="768"/>
                  <a:pt x="70" y="658"/>
                  <a:pt x="70" y="522"/>
                </a:cubicBezTo>
                <a:lnTo>
                  <a:pt x="70" y="279"/>
                </a:lnTo>
                <a:cubicBezTo>
                  <a:pt x="70" y="164"/>
                  <a:pt x="164" y="70"/>
                  <a:pt x="279" y="70"/>
                </a:cubicBezTo>
                <a:cubicBezTo>
                  <a:pt x="395" y="70"/>
                  <a:pt x="489" y="164"/>
                  <a:pt x="489" y="279"/>
                </a:cubicBezTo>
                <a:lnTo>
                  <a:pt x="489" y="768"/>
                </a:lnTo>
                <a:close/>
                <a:moveTo>
                  <a:pt x="279" y="0"/>
                </a:moveTo>
                <a:cubicBezTo>
                  <a:pt x="125" y="0"/>
                  <a:pt x="0" y="125"/>
                  <a:pt x="0" y="279"/>
                </a:cubicBezTo>
                <a:lnTo>
                  <a:pt x="0" y="522"/>
                </a:lnTo>
                <a:cubicBezTo>
                  <a:pt x="0" y="696"/>
                  <a:pt x="142" y="838"/>
                  <a:pt x="317" y="838"/>
                </a:cubicBezTo>
                <a:lnTo>
                  <a:pt x="559" y="838"/>
                </a:lnTo>
                <a:lnTo>
                  <a:pt x="559" y="279"/>
                </a:lnTo>
                <a:cubicBezTo>
                  <a:pt x="559" y="125"/>
                  <a:pt x="433" y="0"/>
                  <a:pt x="27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3" name="Freeform 41"/>
          <p:cNvSpPr>
            <a:spLocks/>
          </p:cNvSpPr>
          <p:nvPr/>
        </p:nvSpPr>
        <p:spPr bwMode="auto">
          <a:xfrm>
            <a:off x="9471323" y="1819703"/>
            <a:ext cx="591581" cy="516260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7" name="Группа 96"/>
          <p:cNvGrpSpPr/>
          <p:nvPr/>
        </p:nvGrpSpPr>
        <p:grpSpPr>
          <a:xfrm>
            <a:off x="9501353" y="538286"/>
            <a:ext cx="546537" cy="591303"/>
            <a:chOff x="477468" y="2705515"/>
            <a:chExt cx="409903" cy="443477"/>
          </a:xfrm>
        </p:grpSpPr>
        <p:sp>
          <p:nvSpPr>
            <p:cNvPr id="64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6" y="509540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8" name="Freeform 46"/>
          <p:cNvSpPr>
            <a:spLocks noEditPoints="1"/>
          </p:cNvSpPr>
          <p:nvPr/>
        </p:nvSpPr>
        <p:spPr bwMode="auto">
          <a:xfrm>
            <a:off x="2195163" y="1780680"/>
            <a:ext cx="411407" cy="59430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7" y="538052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1" name="Freeform 49"/>
          <p:cNvSpPr>
            <a:spLocks noEditPoints="1"/>
          </p:cNvSpPr>
          <p:nvPr/>
        </p:nvSpPr>
        <p:spPr bwMode="auto">
          <a:xfrm>
            <a:off x="3645589" y="524546"/>
            <a:ext cx="471465" cy="591300"/>
          </a:xfrm>
          <a:custGeom>
            <a:avLst/>
            <a:gdLst>
              <a:gd name="T0" fmla="*/ 358 w 687"/>
              <a:gd name="T1" fmla="*/ 718 h 859"/>
              <a:gd name="T2" fmla="*/ 170 w 687"/>
              <a:gd name="T3" fmla="*/ 456 h 859"/>
              <a:gd name="T4" fmla="*/ 170 w 687"/>
              <a:gd name="T5" fmla="*/ 456 h 859"/>
              <a:gd name="T6" fmla="*/ 154 w 687"/>
              <a:gd name="T7" fmla="*/ 439 h 859"/>
              <a:gd name="T8" fmla="*/ 154 w 687"/>
              <a:gd name="T9" fmla="*/ 439 h 859"/>
              <a:gd name="T10" fmla="*/ 72 w 687"/>
              <a:gd name="T11" fmla="*/ 322 h 859"/>
              <a:gd name="T12" fmla="*/ 144 w 687"/>
              <a:gd name="T13" fmla="*/ 250 h 859"/>
              <a:gd name="T14" fmla="*/ 204 w 687"/>
              <a:gd name="T15" fmla="*/ 361 h 859"/>
              <a:gd name="T16" fmla="*/ 194 w 687"/>
              <a:gd name="T17" fmla="*/ 376 h 859"/>
              <a:gd name="T18" fmla="*/ 235 w 687"/>
              <a:gd name="T19" fmla="*/ 421 h 859"/>
              <a:gd name="T20" fmla="*/ 428 w 687"/>
              <a:gd name="T21" fmla="*/ 313 h 859"/>
              <a:gd name="T22" fmla="*/ 358 w 687"/>
              <a:gd name="T23" fmla="*/ 718 h 859"/>
              <a:gd name="T24" fmla="*/ 466 w 687"/>
              <a:gd name="T25" fmla="*/ 71 h 859"/>
              <a:gd name="T26" fmla="*/ 530 w 687"/>
              <a:gd name="T27" fmla="*/ 175 h 859"/>
              <a:gd name="T28" fmla="*/ 286 w 687"/>
              <a:gd name="T29" fmla="*/ 310 h 859"/>
              <a:gd name="T30" fmla="*/ 217 w 687"/>
              <a:gd name="T31" fmla="*/ 199 h 859"/>
              <a:gd name="T32" fmla="*/ 466 w 687"/>
              <a:gd name="T33" fmla="*/ 71 h 859"/>
              <a:gd name="T34" fmla="*/ 493 w 687"/>
              <a:gd name="T35" fmla="*/ 277 h 859"/>
              <a:gd name="T36" fmla="*/ 581 w 687"/>
              <a:gd name="T37" fmla="*/ 228 h 859"/>
              <a:gd name="T38" fmla="*/ 466 w 687"/>
              <a:gd name="T39" fmla="*/ 0 h 859"/>
              <a:gd name="T40" fmla="*/ 396 w 687"/>
              <a:gd name="T41" fmla="*/ 17 h 859"/>
              <a:gd name="T42" fmla="*/ 74 w 687"/>
              <a:gd name="T43" fmla="*/ 197 h 859"/>
              <a:gd name="T44" fmla="*/ 74 w 687"/>
              <a:gd name="T45" fmla="*/ 197 h 859"/>
              <a:gd name="T46" fmla="*/ 0 w 687"/>
              <a:gd name="T47" fmla="*/ 322 h 859"/>
              <a:gd name="T48" fmla="*/ 38 w 687"/>
              <a:gd name="T49" fmla="*/ 419 h 859"/>
              <a:gd name="T50" fmla="*/ 85 w 687"/>
              <a:gd name="T51" fmla="*/ 469 h 859"/>
              <a:gd name="T52" fmla="*/ 254 w 687"/>
              <a:gd name="T53" fmla="*/ 652 h 859"/>
              <a:gd name="T54" fmla="*/ 287 w 687"/>
              <a:gd name="T55" fmla="*/ 716 h 859"/>
              <a:gd name="T56" fmla="*/ 250 w 687"/>
              <a:gd name="T57" fmla="*/ 778 h 859"/>
              <a:gd name="T58" fmla="*/ 250 w 687"/>
              <a:gd name="T59" fmla="*/ 778 h 859"/>
              <a:gd name="T60" fmla="*/ 167 w 687"/>
              <a:gd name="T61" fmla="*/ 664 h 859"/>
              <a:gd name="T62" fmla="*/ 118 w 687"/>
              <a:gd name="T63" fmla="*/ 611 h 859"/>
              <a:gd name="T64" fmla="*/ 215 w 687"/>
              <a:gd name="T65" fmla="*/ 859 h 859"/>
              <a:gd name="T66" fmla="*/ 285 w 687"/>
              <a:gd name="T67" fmla="*/ 841 h 859"/>
              <a:gd name="T68" fmla="*/ 285 w 687"/>
              <a:gd name="T69" fmla="*/ 841 h 859"/>
              <a:gd name="T70" fmla="*/ 607 w 687"/>
              <a:gd name="T71" fmla="*/ 662 h 859"/>
              <a:gd name="T72" fmla="*/ 681 w 687"/>
              <a:gd name="T73" fmla="*/ 537 h 859"/>
              <a:gd name="T74" fmla="*/ 493 w 687"/>
              <a:gd name="T75" fmla="*/ 277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87" h="859">
                <a:moveTo>
                  <a:pt x="358" y="718"/>
                </a:moveTo>
                <a:cubicBezTo>
                  <a:pt x="359" y="645"/>
                  <a:pt x="329" y="628"/>
                  <a:pt x="170" y="456"/>
                </a:cubicBezTo>
                <a:lnTo>
                  <a:pt x="170" y="456"/>
                </a:lnTo>
                <a:lnTo>
                  <a:pt x="154" y="439"/>
                </a:lnTo>
                <a:lnTo>
                  <a:pt x="154" y="439"/>
                </a:lnTo>
                <a:cubicBezTo>
                  <a:pt x="89" y="368"/>
                  <a:pt x="72" y="358"/>
                  <a:pt x="72" y="322"/>
                </a:cubicBezTo>
                <a:cubicBezTo>
                  <a:pt x="72" y="281"/>
                  <a:pt x="105" y="250"/>
                  <a:pt x="144" y="250"/>
                </a:cubicBezTo>
                <a:cubicBezTo>
                  <a:pt x="200" y="250"/>
                  <a:pt x="235" y="312"/>
                  <a:pt x="204" y="361"/>
                </a:cubicBezTo>
                <a:lnTo>
                  <a:pt x="194" y="376"/>
                </a:lnTo>
                <a:lnTo>
                  <a:pt x="235" y="421"/>
                </a:lnTo>
                <a:lnTo>
                  <a:pt x="428" y="313"/>
                </a:lnTo>
                <a:cubicBezTo>
                  <a:pt x="681" y="586"/>
                  <a:pt x="687" y="535"/>
                  <a:pt x="358" y="718"/>
                </a:cubicBezTo>
                <a:close/>
                <a:moveTo>
                  <a:pt x="466" y="71"/>
                </a:moveTo>
                <a:cubicBezTo>
                  <a:pt x="518" y="71"/>
                  <a:pt x="554" y="126"/>
                  <a:pt x="530" y="175"/>
                </a:cubicBezTo>
                <a:lnTo>
                  <a:pt x="286" y="310"/>
                </a:lnTo>
                <a:cubicBezTo>
                  <a:pt x="282" y="263"/>
                  <a:pt x="256" y="222"/>
                  <a:pt x="217" y="199"/>
                </a:cubicBezTo>
                <a:cubicBezTo>
                  <a:pt x="436" y="78"/>
                  <a:pt x="437" y="71"/>
                  <a:pt x="466" y="71"/>
                </a:cubicBezTo>
                <a:close/>
                <a:moveTo>
                  <a:pt x="493" y="277"/>
                </a:moveTo>
                <a:lnTo>
                  <a:pt x="581" y="228"/>
                </a:lnTo>
                <a:cubicBezTo>
                  <a:pt x="655" y="113"/>
                  <a:pt x="568" y="0"/>
                  <a:pt x="466" y="0"/>
                </a:cubicBezTo>
                <a:cubicBezTo>
                  <a:pt x="443" y="0"/>
                  <a:pt x="419" y="5"/>
                  <a:pt x="396" y="17"/>
                </a:cubicBezTo>
                <a:lnTo>
                  <a:pt x="74" y="197"/>
                </a:lnTo>
                <a:lnTo>
                  <a:pt x="74" y="197"/>
                </a:lnTo>
                <a:cubicBezTo>
                  <a:pt x="26" y="223"/>
                  <a:pt x="0" y="272"/>
                  <a:pt x="0" y="322"/>
                </a:cubicBezTo>
                <a:cubicBezTo>
                  <a:pt x="0" y="356"/>
                  <a:pt x="13" y="391"/>
                  <a:pt x="38" y="419"/>
                </a:cubicBezTo>
                <a:lnTo>
                  <a:pt x="85" y="469"/>
                </a:lnTo>
                <a:lnTo>
                  <a:pt x="254" y="652"/>
                </a:lnTo>
                <a:cubicBezTo>
                  <a:pt x="273" y="673"/>
                  <a:pt x="287" y="685"/>
                  <a:pt x="287" y="716"/>
                </a:cubicBezTo>
                <a:cubicBezTo>
                  <a:pt x="287" y="743"/>
                  <a:pt x="272" y="766"/>
                  <a:pt x="250" y="778"/>
                </a:cubicBezTo>
                <a:lnTo>
                  <a:pt x="250" y="778"/>
                </a:lnTo>
                <a:cubicBezTo>
                  <a:pt x="177" y="819"/>
                  <a:pt x="105" y="721"/>
                  <a:pt x="167" y="664"/>
                </a:cubicBezTo>
                <a:lnTo>
                  <a:pt x="118" y="611"/>
                </a:lnTo>
                <a:cubicBezTo>
                  <a:pt x="18" y="704"/>
                  <a:pt x="96" y="859"/>
                  <a:pt x="215" y="859"/>
                </a:cubicBezTo>
                <a:cubicBezTo>
                  <a:pt x="237" y="859"/>
                  <a:pt x="261" y="853"/>
                  <a:pt x="285" y="841"/>
                </a:cubicBezTo>
                <a:lnTo>
                  <a:pt x="285" y="841"/>
                </a:lnTo>
                <a:lnTo>
                  <a:pt x="607" y="662"/>
                </a:lnTo>
                <a:cubicBezTo>
                  <a:pt x="652" y="637"/>
                  <a:pt x="681" y="589"/>
                  <a:pt x="681" y="537"/>
                </a:cubicBezTo>
                <a:cubicBezTo>
                  <a:pt x="681" y="464"/>
                  <a:pt x="647" y="444"/>
                  <a:pt x="493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9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5" name="Freeform 53"/>
          <p:cNvSpPr>
            <a:spLocks noEditPoints="1"/>
          </p:cNvSpPr>
          <p:nvPr/>
        </p:nvSpPr>
        <p:spPr bwMode="auto">
          <a:xfrm>
            <a:off x="5050971" y="1810696"/>
            <a:ext cx="612604" cy="534269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7" name="Freeform 55"/>
          <p:cNvSpPr>
            <a:spLocks noEditPoints="1"/>
          </p:cNvSpPr>
          <p:nvPr/>
        </p:nvSpPr>
        <p:spPr bwMode="auto">
          <a:xfrm>
            <a:off x="630619" y="562066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3" name="Freeform 71"/>
          <p:cNvSpPr>
            <a:spLocks noEditPoints="1"/>
          </p:cNvSpPr>
          <p:nvPr/>
        </p:nvSpPr>
        <p:spPr bwMode="auto">
          <a:xfrm>
            <a:off x="6540439" y="532049"/>
            <a:ext cx="588580" cy="576291"/>
          </a:xfrm>
          <a:custGeom>
            <a:avLst/>
            <a:gdLst>
              <a:gd name="T0" fmla="*/ 394 w 859"/>
              <a:gd name="T1" fmla="*/ 227 h 836"/>
              <a:gd name="T2" fmla="*/ 465 w 859"/>
              <a:gd name="T3" fmla="*/ 299 h 836"/>
              <a:gd name="T4" fmla="*/ 465 w 859"/>
              <a:gd name="T5" fmla="*/ 836 h 836"/>
              <a:gd name="T6" fmla="*/ 535 w 859"/>
              <a:gd name="T7" fmla="*/ 371 h 836"/>
              <a:gd name="T8" fmla="*/ 465 w 859"/>
              <a:gd name="T9" fmla="*/ 836 h 836"/>
              <a:gd name="T10" fmla="*/ 394 w 859"/>
              <a:gd name="T11" fmla="*/ 836 h 836"/>
              <a:gd name="T12" fmla="*/ 324 w 859"/>
              <a:gd name="T13" fmla="*/ 371 h 836"/>
              <a:gd name="T14" fmla="*/ 215 w 859"/>
              <a:gd name="T15" fmla="*/ 172 h 836"/>
              <a:gd name="T16" fmla="*/ 286 w 859"/>
              <a:gd name="T17" fmla="*/ 836 h 836"/>
              <a:gd name="T18" fmla="*/ 430 w 859"/>
              <a:gd name="T19" fmla="*/ 92 h 836"/>
              <a:gd name="T20" fmla="*/ 573 w 859"/>
              <a:gd name="T21" fmla="*/ 836 h 836"/>
              <a:gd name="T22" fmla="*/ 645 w 859"/>
              <a:gd name="T23" fmla="*/ 172 h 836"/>
              <a:gd name="T24" fmla="*/ 215 w 859"/>
              <a:gd name="T25" fmla="*/ 172 h 836"/>
              <a:gd name="T26" fmla="*/ 752 w 859"/>
              <a:gd name="T27" fmla="*/ 800 h 836"/>
              <a:gd name="T28" fmla="*/ 680 w 859"/>
              <a:gd name="T29" fmla="*/ 729 h 836"/>
              <a:gd name="T30" fmla="*/ 680 w 859"/>
              <a:gd name="T31" fmla="*/ 657 h 836"/>
              <a:gd name="T32" fmla="*/ 752 w 859"/>
              <a:gd name="T33" fmla="*/ 585 h 836"/>
              <a:gd name="T34" fmla="*/ 680 w 859"/>
              <a:gd name="T35" fmla="*/ 657 h 836"/>
              <a:gd name="T36" fmla="*/ 752 w 859"/>
              <a:gd name="T37" fmla="*/ 514 h 836"/>
              <a:gd name="T38" fmla="*/ 680 w 859"/>
              <a:gd name="T39" fmla="*/ 442 h 836"/>
              <a:gd name="T40" fmla="*/ 107 w 859"/>
              <a:gd name="T41" fmla="*/ 800 h 836"/>
              <a:gd name="T42" fmla="*/ 179 w 859"/>
              <a:gd name="T43" fmla="*/ 729 h 836"/>
              <a:gd name="T44" fmla="*/ 107 w 859"/>
              <a:gd name="T45" fmla="*/ 800 h 836"/>
              <a:gd name="T46" fmla="*/ 179 w 859"/>
              <a:gd name="T47" fmla="*/ 657 h 836"/>
              <a:gd name="T48" fmla="*/ 107 w 859"/>
              <a:gd name="T49" fmla="*/ 585 h 836"/>
              <a:gd name="T50" fmla="*/ 107 w 859"/>
              <a:gd name="T51" fmla="*/ 514 h 836"/>
              <a:gd name="T52" fmla="*/ 179 w 859"/>
              <a:gd name="T53" fmla="*/ 442 h 836"/>
              <a:gd name="T54" fmla="*/ 107 w 859"/>
              <a:gd name="T55" fmla="*/ 514 h 836"/>
              <a:gd name="T56" fmla="*/ 680 w 859"/>
              <a:gd name="T57" fmla="*/ 371 h 836"/>
              <a:gd name="T58" fmla="*/ 788 w 859"/>
              <a:gd name="T59" fmla="*/ 836 h 836"/>
              <a:gd name="T60" fmla="*/ 859 w 859"/>
              <a:gd name="T61" fmla="*/ 299 h 836"/>
              <a:gd name="T62" fmla="*/ 0 w 859"/>
              <a:gd name="T63" fmla="*/ 836 h 836"/>
              <a:gd name="T64" fmla="*/ 72 w 859"/>
              <a:gd name="T65" fmla="*/ 371 h 836"/>
              <a:gd name="T66" fmla="*/ 179 w 859"/>
              <a:gd name="T67" fmla="*/ 299 h 836"/>
              <a:gd name="T68" fmla="*/ 0 w 859"/>
              <a:gd name="T69" fmla="*/ 836 h 8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59" h="836">
                <a:moveTo>
                  <a:pt x="465" y="227"/>
                </a:moveTo>
                <a:lnTo>
                  <a:pt x="394" y="227"/>
                </a:lnTo>
                <a:lnTo>
                  <a:pt x="394" y="299"/>
                </a:lnTo>
                <a:lnTo>
                  <a:pt x="465" y="299"/>
                </a:lnTo>
                <a:lnTo>
                  <a:pt x="465" y="227"/>
                </a:lnTo>
                <a:close/>
                <a:moveTo>
                  <a:pt x="465" y="836"/>
                </a:moveTo>
                <a:lnTo>
                  <a:pt x="535" y="836"/>
                </a:lnTo>
                <a:lnTo>
                  <a:pt x="535" y="371"/>
                </a:lnTo>
                <a:lnTo>
                  <a:pt x="465" y="371"/>
                </a:lnTo>
                <a:lnTo>
                  <a:pt x="465" y="836"/>
                </a:lnTo>
                <a:close/>
                <a:moveTo>
                  <a:pt x="324" y="836"/>
                </a:moveTo>
                <a:lnTo>
                  <a:pt x="394" y="836"/>
                </a:lnTo>
                <a:lnTo>
                  <a:pt x="394" y="371"/>
                </a:lnTo>
                <a:lnTo>
                  <a:pt x="324" y="371"/>
                </a:lnTo>
                <a:lnTo>
                  <a:pt x="324" y="836"/>
                </a:lnTo>
                <a:close/>
                <a:moveTo>
                  <a:pt x="215" y="172"/>
                </a:moveTo>
                <a:lnTo>
                  <a:pt x="215" y="836"/>
                </a:lnTo>
                <a:lnTo>
                  <a:pt x="286" y="836"/>
                </a:lnTo>
                <a:lnTo>
                  <a:pt x="286" y="207"/>
                </a:lnTo>
                <a:lnTo>
                  <a:pt x="430" y="92"/>
                </a:lnTo>
                <a:lnTo>
                  <a:pt x="573" y="207"/>
                </a:lnTo>
                <a:lnTo>
                  <a:pt x="573" y="836"/>
                </a:lnTo>
                <a:lnTo>
                  <a:pt x="645" y="836"/>
                </a:lnTo>
                <a:lnTo>
                  <a:pt x="645" y="172"/>
                </a:lnTo>
                <a:lnTo>
                  <a:pt x="430" y="0"/>
                </a:lnTo>
                <a:lnTo>
                  <a:pt x="215" y="172"/>
                </a:lnTo>
                <a:close/>
                <a:moveTo>
                  <a:pt x="680" y="800"/>
                </a:moveTo>
                <a:lnTo>
                  <a:pt x="752" y="800"/>
                </a:lnTo>
                <a:lnTo>
                  <a:pt x="752" y="729"/>
                </a:lnTo>
                <a:lnTo>
                  <a:pt x="680" y="729"/>
                </a:lnTo>
                <a:lnTo>
                  <a:pt x="680" y="800"/>
                </a:lnTo>
                <a:close/>
                <a:moveTo>
                  <a:pt x="680" y="657"/>
                </a:moveTo>
                <a:lnTo>
                  <a:pt x="752" y="657"/>
                </a:lnTo>
                <a:lnTo>
                  <a:pt x="752" y="585"/>
                </a:lnTo>
                <a:lnTo>
                  <a:pt x="680" y="585"/>
                </a:lnTo>
                <a:lnTo>
                  <a:pt x="680" y="657"/>
                </a:lnTo>
                <a:close/>
                <a:moveTo>
                  <a:pt x="680" y="514"/>
                </a:moveTo>
                <a:lnTo>
                  <a:pt x="752" y="514"/>
                </a:lnTo>
                <a:lnTo>
                  <a:pt x="752" y="442"/>
                </a:lnTo>
                <a:lnTo>
                  <a:pt x="680" y="442"/>
                </a:lnTo>
                <a:lnTo>
                  <a:pt x="680" y="514"/>
                </a:lnTo>
                <a:close/>
                <a:moveTo>
                  <a:pt x="107" y="800"/>
                </a:moveTo>
                <a:lnTo>
                  <a:pt x="179" y="800"/>
                </a:lnTo>
                <a:lnTo>
                  <a:pt x="179" y="729"/>
                </a:lnTo>
                <a:lnTo>
                  <a:pt x="107" y="729"/>
                </a:lnTo>
                <a:lnTo>
                  <a:pt x="107" y="800"/>
                </a:lnTo>
                <a:close/>
                <a:moveTo>
                  <a:pt x="107" y="657"/>
                </a:moveTo>
                <a:lnTo>
                  <a:pt x="179" y="657"/>
                </a:lnTo>
                <a:lnTo>
                  <a:pt x="179" y="585"/>
                </a:lnTo>
                <a:lnTo>
                  <a:pt x="107" y="585"/>
                </a:lnTo>
                <a:lnTo>
                  <a:pt x="107" y="657"/>
                </a:lnTo>
                <a:close/>
                <a:moveTo>
                  <a:pt x="107" y="514"/>
                </a:moveTo>
                <a:lnTo>
                  <a:pt x="179" y="514"/>
                </a:lnTo>
                <a:lnTo>
                  <a:pt x="179" y="442"/>
                </a:lnTo>
                <a:lnTo>
                  <a:pt x="107" y="442"/>
                </a:lnTo>
                <a:lnTo>
                  <a:pt x="107" y="514"/>
                </a:lnTo>
                <a:close/>
                <a:moveTo>
                  <a:pt x="680" y="299"/>
                </a:moveTo>
                <a:lnTo>
                  <a:pt x="680" y="371"/>
                </a:lnTo>
                <a:lnTo>
                  <a:pt x="788" y="371"/>
                </a:lnTo>
                <a:lnTo>
                  <a:pt x="788" y="836"/>
                </a:lnTo>
                <a:lnTo>
                  <a:pt x="859" y="836"/>
                </a:lnTo>
                <a:lnTo>
                  <a:pt x="859" y="299"/>
                </a:lnTo>
                <a:lnTo>
                  <a:pt x="680" y="299"/>
                </a:lnTo>
                <a:close/>
                <a:moveTo>
                  <a:pt x="0" y="836"/>
                </a:moveTo>
                <a:lnTo>
                  <a:pt x="72" y="836"/>
                </a:lnTo>
                <a:lnTo>
                  <a:pt x="72" y="371"/>
                </a:lnTo>
                <a:lnTo>
                  <a:pt x="179" y="371"/>
                </a:lnTo>
                <a:lnTo>
                  <a:pt x="179" y="299"/>
                </a:lnTo>
                <a:lnTo>
                  <a:pt x="0" y="299"/>
                </a:lnTo>
                <a:lnTo>
                  <a:pt x="0" y="8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73" name="Слайд think-cell" r:id="rId6" imgW="359" imgH="360" progId="">
                  <p:embed/>
                </p:oleObj>
              </mc:Choice>
              <mc:Fallback>
                <p:oleObj name="Слайд think-cell" r:id="rId6" imgW="359" imgH="360" progId="">
                  <p:embed/>
                  <p:pic>
                    <p:nvPicPr>
                      <p:cNvPr id="0" name="Picture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9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5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33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для 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r>
              <a:rPr kumimoji="0" lang="ru-RU" sz="933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 г</a:t>
            </a:r>
            <a:r>
              <a:rPr kumimoji="0" lang="ru-RU" sz="933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</p:txBody>
      </p:sp>
      <p:sp>
        <p:nvSpPr>
          <p:cNvPr id="94" name="Подзаголовок 2"/>
          <p:cNvSpPr txBox="1">
            <a:spLocks/>
          </p:cNvSpPr>
          <p:nvPr/>
        </p:nvSpPr>
        <p:spPr>
          <a:xfrm>
            <a:off x="5151944" y="5204511"/>
            <a:ext cx="6194758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-4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marR="0" lvl="0" indent="0" algn="l" defTabSz="91435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-4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</a:rPr>
              <a:t>Адрес: 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</a:rPr>
              <a:t>127473, г. Москва, ул. Краснопролетарская, д. 16, стр. 3, подъезд 8, бизнес-центр «Новослободский»</a:t>
            </a:r>
          </a:p>
          <a:p>
            <a:pPr marL="0" marR="0" lvl="0" indent="0" algn="l" defTabSz="91435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kumimoji="0" lang="ru-RU" sz="1200" b="0" i="0" u="none" strike="noStrike" kern="1200" cap="none" spc="-4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</a:rPr>
              <a:t>Горячая линия: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vopros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@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prosv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.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ru</a:t>
            </a:r>
            <a:endParaRPr kumimoji="0" lang="ru-RU" sz="1200" b="0" i="0" u="none" strike="noStrike" kern="1200" cap="none" spc="-4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2192" name="Picture 32" descr="http://qrcoder.ru/code/?https%3A%2F%2Fshop.prosv.ru%2F&amp;8&amp;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0522" y="5218019"/>
            <a:ext cx="1105175" cy="1105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Прямоугольник 49"/>
          <p:cNvSpPr/>
          <p:nvPr/>
        </p:nvSpPr>
        <p:spPr>
          <a:xfrm>
            <a:off x="178771" y="193727"/>
            <a:ext cx="11937029" cy="2519692"/>
          </a:xfrm>
          <a:prstGeom prst="rect">
            <a:avLst/>
          </a:prstGeom>
          <a:solidFill>
            <a:srgbClr val="F0F8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8" name="Прямоугольник 97"/>
          <p:cNvSpPr/>
          <p:nvPr/>
        </p:nvSpPr>
        <p:spPr>
          <a:xfrm>
            <a:off x="186184" y="1602461"/>
            <a:ext cx="11819633" cy="1745682"/>
          </a:xfrm>
          <a:prstGeom prst="rect">
            <a:avLst/>
          </a:prstGeom>
          <a:solidFill>
            <a:srgbClr val="2D2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15080" y="1691927"/>
            <a:ext cx="9870332" cy="15594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Хотите купить?</a:t>
            </a:r>
          </a:p>
          <a:p>
            <a:pPr marL="16573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8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Оптовые закупки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: отдел по работе с государственными заказами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тел.: +7 (495) 789-30-40, доб. 41-44,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e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-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mail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: </a:t>
            </a:r>
            <a:r>
              <a:rPr kumimoji="0" lang="ru-RU" sz="1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GTrofimova@prosv.ru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,  </a:t>
            </a:r>
          </a:p>
          <a:p>
            <a:pPr marL="16573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8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Розница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: самостоятельно заказать в нашем интернет-магазине shop.prosv.ru </a:t>
            </a:r>
          </a:p>
        </p:txBody>
      </p:sp>
      <p:sp>
        <p:nvSpPr>
          <p:cNvPr id="52" name="Заголовок 1"/>
          <p:cNvSpPr txBox="1">
            <a:spLocks/>
          </p:cNvSpPr>
          <p:nvPr/>
        </p:nvSpPr>
        <p:spPr>
          <a:xfrm>
            <a:off x="-76200" y="492870"/>
            <a:ext cx="121920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solidFill>
                  <a:srgbClr val="2A3393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Open Sans" panose="020B0606030504020204" pitchFamily="34" charset="0"/>
              </a:rPr>
              <a:t>СПАСИБО ЗА ВНИМАНИЕ!</a:t>
            </a:r>
            <a:br>
              <a:rPr kumimoji="0" lang="ru-RU" sz="3200" b="1" i="0" u="none" strike="noStrike" kern="1200" cap="none" spc="-40" normalizeH="0" baseline="0" noProof="0" dirty="0">
                <a:ln>
                  <a:noFill/>
                </a:ln>
                <a:solidFill>
                  <a:srgbClr val="2A3393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Open Sans" panose="020B0606030504020204" pitchFamily="34" charset="0"/>
              </a:rPr>
            </a:br>
            <a:br>
              <a:rPr kumimoji="0" lang="ru-RU" sz="3200" b="1" i="0" u="none" strike="noStrike" kern="1200" cap="none" spc="-40" normalizeH="0" baseline="0" noProof="0" dirty="0">
                <a:ln>
                  <a:noFill/>
                </a:ln>
                <a:solidFill>
                  <a:srgbClr val="2A3393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Open Sans" panose="020B0606030504020204" pitchFamily="34" charset="0"/>
              </a:rPr>
            </a:br>
            <a:endParaRPr kumimoji="0" lang="ru-RU" sz="3200" b="1" i="0" u="none" strike="noStrike" kern="1200" cap="none" spc="-40" normalizeH="0" baseline="0" noProof="0" dirty="0">
              <a:ln>
                <a:noFill/>
              </a:ln>
              <a:solidFill>
                <a:srgbClr val="2A3393"/>
              </a:solidFill>
              <a:effectLst/>
              <a:uLnTx/>
              <a:uFillTx/>
              <a:latin typeface="Calibri"/>
              <a:ea typeface="Cambria Math" panose="02040503050406030204" pitchFamily="18" charset="0"/>
              <a:cs typeface="Open Sans" panose="020B060603050402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3999513" y="3485016"/>
            <a:ext cx="4814157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тдел методической поддержки педагогов и ОО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едущий методист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-mail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stagram: @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1928" y="3917004"/>
            <a:ext cx="272747" cy="272747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6252" y="4253154"/>
            <a:ext cx="473262" cy="55460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7669" y="4737358"/>
            <a:ext cx="399023" cy="398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9830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451437" y="1551114"/>
            <a:ext cx="8583668" cy="50167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4383DD"/>
            </a:solidFill>
          </a:ln>
        </p:spPr>
        <p:txBody>
          <a:bodyPr wrap="square">
            <a:spAutoFit/>
          </a:bodyPr>
          <a:lstStyle/>
          <a:p>
            <a:r>
              <a:rPr lang="ru-RU" sz="2000" b="1" dirty="0" err="1">
                <a:solidFill>
                  <a:srgbClr val="C00000"/>
                </a:solidFill>
              </a:rPr>
              <a:t>Техноло́гия</a:t>
            </a:r>
            <a:r>
              <a:rPr lang="ru-RU" sz="2000" dirty="0"/>
              <a:t> </a:t>
            </a:r>
          </a:p>
          <a:p>
            <a:r>
              <a:rPr lang="ru-RU" sz="2000" dirty="0"/>
              <a:t>(от </a:t>
            </a:r>
            <a:r>
              <a:rPr lang="ru-RU" sz="2000" dirty="0">
                <a:hlinkClick r:id="rId2" tooltip="Древнегреческий язык"/>
              </a:rPr>
              <a:t>др.-греч.</a:t>
            </a:r>
            <a:r>
              <a:rPr lang="ru-RU" sz="2000" dirty="0"/>
              <a:t> </a:t>
            </a:r>
            <a:r>
              <a:rPr lang="ru-RU" sz="2000" dirty="0" err="1"/>
              <a:t>τέχνη</a:t>
            </a:r>
            <a:r>
              <a:rPr lang="ru-RU" sz="2000" dirty="0"/>
              <a:t> «искусство, мастерство, умение» + </a:t>
            </a:r>
            <a:r>
              <a:rPr lang="ru-RU" sz="2000" dirty="0" err="1">
                <a:hlinkClick r:id="rId3" tooltip="Логос"/>
              </a:rPr>
              <a:t>λόγος</a:t>
            </a:r>
            <a:r>
              <a:rPr lang="ru-RU" sz="2000" dirty="0"/>
              <a:t> «слово, мысль, смысл, понятие, учение») — совокупность методов и инструментов для достижения желаемого результата; в широком смысле — применение научного знания для решения практических задач.</a:t>
            </a:r>
          </a:p>
          <a:p>
            <a:r>
              <a:rPr lang="ru-RU" sz="2000" b="1" dirty="0"/>
              <a:t>В широком смысле </a:t>
            </a:r>
            <a:r>
              <a:rPr lang="ru-RU" sz="2000" dirty="0"/>
              <a:t>— совокупность методов, процессов и материалов, используемых в какой-либо отрасли деятельности, а также научное описание способов производства. </a:t>
            </a:r>
          </a:p>
          <a:p>
            <a:r>
              <a:rPr lang="ru-RU" sz="2000" b="1" dirty="0"/>
              <a:t>В узком смысле </a:t>
            </a:r>
            <a:r>
              <a:rPr lang="ru-RU" sz="2000" dirty="0"/>
              <a:t>— комплекс организационных мер, операций и приемов, направленных на изготовление, обслуживание, ремонт и/или эксплуатацию изделия с номинальным качеством и оптимальными затратами, и обусловленных текущим уровнем развития науки, техники и общества в целом .</a:t>
            </a:r>
          </a:p>
          <a:p>
            <a:r>
              <a:rPr lang="ru-RU" sz="2000" b="1" dirty="0"/>
              <a:t>При этом: </a:t>
            </a:r>
            <a:r>
              <a:rPr lang="ru-RU" sz="2000" dirty="0"/>
              <a:t>под термином </a:t>
            </a:r>
            <a:r>
              <a:rPr lang="ru-RU" sz="2000" b="1" i="1" dirty="0">
                <a:solidFill>
                  <a:srgbClr val="C00000"/>
                </a:solidFill>
              </a:rPr>
              <a:t>изделие</a:t>
            </a:r>
            <a:r>
              <a:rPr lang="ru-RU" sz="2000" dirty="0"/>
              <a:t> следует понимать любой конечный продукт труда (</a:t>
            </a:r>
            <a:r>
              <a:rPr lang="ru-RU" sz="2000" b="1" i="1" dirty="0"/>
              <a:t>материальный, интеллектуальный, моральный, политический и т. п.).</a:t>
            </a:r>
          </a:p>
        </p:txBody>
      </p:sp>
      <p:sp>
        <p:nvSpPr>
          <p:cNvPr id="3" name="Выноска со стрелкой вниз 2"/>
          <p:cNvSpPr/>
          <p:nvPr/>
        </p:nvSpPr>
        <p:spPr>
          <a:xfrm>
            <a:off x="3317509" y="129614"/>
            <a:ext cx="8717596" cy="1172227"/>
          </a:xfrm>
          <a:prstGeom prst="downArrowCallou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R="6350" algn="ctr">
              <a:lnSpc>
                <a:spcPct val="100099"/>
              </a:lnSpc>
            </a:pPr>
            <a:endParaRPr lang="ru-RU" b="1" spc="20" dirty="0">
              <a:solidFill>
                <a:srgbClr val="002060"/>
              </a:solidFill>
              <a:cs typeface="Calibri"/>
            </a:endParaRPr>
          </a:p>
          <a:p>
            <a:pPr marR="6350" algn="ctr">
              <a:lnSpc>
                <a:spcPct val="100099"/>
              </a:lnSpc>
            </a:pPr>
            <a:r>
              <a:rPr lang="ru-RU" b="1" spc="20" dirty="0">
                <a:solidFill>
                  <a:srgbClr val="002060"/>
                </a:solidFill>
                <a:cs typeface="Calibri"/>
              </a:rPr>
              <a:t>Концепция</a:t>
            </a:r>
            <a:r>
              <a:rPr lang="ru-RU" b="1" spc="-190" dirty="0">
                <a:solidFill>
                  <a:srgbClr val="002060"/>
                </a:solidFill>
                <a:cs typeface="Calibri"/>
              </a:rPr>
              <a:t> </a:t>
            </a:r>
            <a:r>
              <a:rPr lang="ru-RU" b="1" spc="15" dirty="0">
                <a:solidFill>
                  <a:srgbClr val="002060"/>
                </a:solidFill>
                <a:cs typeface="Calibri"/>
              </a:rPr>
              <a:t>преподавания учебного предмета </a:t>
            </a:r>
            <a:r>
              <a:rPr lang="ru-RU" b="1" spc="15" dirty="0">
                <a:solidFill>
                  <a:srgbClr val="C00000"/>
                </a:solidFill>
                <a:cs typeface="Calibri"/>
              </a:rPr>
              <a:t>«</a:t>
            </a:r>
            <a:r>
              <a:rPr lang="ru-RU" b="1" spc="25" dirty="0">
                <a:solidFill>
                  <a:srgbClr val="C00000"/>
                </a:solidFill>
                <a:cs typeface="Calibri"/>
              </a:rPr>
              <a:t>Технология</a:t>
            </a:r>
            <a:r>
              <a:rPr lang="ru-RU" b="1" dirty="0">
                <a:solidFill>
                  <a:srgbClr val="C00000"/>
                </a:solidFill>
                <a:cs typeface="Calibri"/>
              </a:rPr>
              <a:t>»</a:t>
            </a:r>
            <a:r>
              <a:rPr lang="ru-RU" b="1" dirty="0">
                <a:solidFill>
                  <a:srgbClr val="002060"/>
                </a:solidFill>
                <a:cs typeface="Calibri"/>
              </a:rPr>
              <a:t>: </a:t>
            </a:r>
          </a:p>
          <a:p>
            <a:pPr marR="6350" algn="ctr">
              <a:lnSpc>
                <a:spcPct val="100099"/>
              </a:lnSpc>
            </a:pPr>
            <a:r>
              <a:rPr lang="ru-RU" b="1" dirty="0">
                <a:solidFill>
                  <a:srgbClr val="C00000"/>
                </a:solidFill>
                <a:cs typeface="Calibri"/>
              </a:rPr>
              <a:t>метапредметные аспекты</a:t>
            </a:r>
            <a:endParaRPr lang="ru-RU" dirty="0">
              <a:solidFill>
                <a:srgbClr val="C00000"/>
              </a:solidFill>
              <a:cs typeface="Calibri"/>
            </a:endParaRPr>
          </a:p>
          <a:p>
            <a:pPr algn="ctr"/>
            <a:endParaRPr lang="ru-RU" dirty="0"/>
          </a:p>
        </p:txBody>
      </p:sp>
      <p:sp>
        <p:nvSpPr>
          <p:cNvPr id="4" name="Выноска со стрелкой вправо 3"/>
          <p:cNvSpPr/>
          <p:nvPr/>
        </p:nvSpPr>
        <p:spPr>
          <a:xfrm>
            <a:off x="166467" y="1704814"/>
            <a:ext cx="3151041" cy="1437484"/>
          </a:xfrm>
          <a:prstGeom prst="rightArrowCallout">
            <a:avLst>
              <a:gd name="adj1" fmla="val 19308"/>
              <a:gd name="adj2" fmla="val 25000"/>
              <a:gd name="adj3" fmla="val 35215"/>
              <a:gd name="adj4" fmla="val 81731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rgbClr val="C00000"/>
                </a:solidFill>
              </a:rPr>
              <a:t>Вернёмся к  истокам!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467" y="4234314"/>
            <a:ext cx="3192346" cy="22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52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489519"/>
            <a:ext cx="5552497" cy="78483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12700">
              <a:lnSpc>
                <a:spcPts val="2720"/>
              </a:lnSpc>
              <a:spcBef>
                <a:spcPts val="105"/>
              </a:spcBef>
            </a:pPr>
            <a:r>
              <a:rPr lang="ru-RU" sz="2400" b="1" dirty="0">
                <a:solidFill>
                  <a:srgbClr val="006FC0"/>
                </a:solidFill>
              </a:rPr>
              <a:t>Концепция</a:t>
            </a:r>
            <a:r>
              <a:rPr lang="ru-RU" sz="2400" b="1" spc="-10" dirty="0">
                <a:solidFill>
                  <a:srgbClr val="006FC0"/>
                </a:solidFill>
              </a:rPr>
              <a:t> </a:t>
            </a:r>
            <a:r>
              <a:rPr lang="ru-RU" sz="2400" b="1" spc="-5" dirty="0">
                <a:solidFill>
                  <a:srgbClr val="006FC0"/>
                </a:solidFill>
              </a:rPr>
              <a:t>преподавания </a:t>
            </a:r>
            <a:r>
              <a:rPr lang="ru-RU" sz="2400" b="1" spc="-10" dirty="0">
                <a:solidFill>
                  <a:srgbClr val="006FC0"/>
                </a:solidFill>
              </a:rPr>
              <a:t>учебного</a:t>
            </a:r>
            <a:endParaRPr lang="ru-RU" sz="2400" b="1" dirty="0"/>
          </a:p>
          <a:p>
            <a:pPr marL="12700">
              <a:lnSpc>
                <a:spcPts val="2720"/>
              </a:lnSpc>
            </a:pPr>
            <a:r>
              <a:rPr lang="ru-RU" sz="2400" b="1" spc="-5" dirty="0">
                <a:solidFill>
                  <a:srgbClr val="006FC0"/>
                </a:solidFill>
              </a:rPr>
              <a:t>предмета</a:t>
            </a:r>
            <a:r>
              <a:rPr lang="ru-RU" sz="2400" b="1" spc="-45" dirty="0">
                <a:solidFill>
                  <a:srgbClr val="006FC0"/>
                </a:solidFill>
              </a:rPr>
              <a:t> </a:t>
            </a:r>
            <a:r>
              <a:rPr lang="ru-RU" sz="2400" b="1" spc="-5" dirty="0">
                <a:solidFill>
                  <a:srgbClr val="006FC0"/>
                </a:solidFill>
              </a:rPr>
              <a:t>«Технология»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29733" y="1659460"/>
            <a:ext cx="11032067" cy="43110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>
              <a:lnSpc>
                <a:spcPct val="100000"/>
              </a:lnSpc>
              <a:spcBef>
                <a:spcPts val="844"/>
              </a:spcBef>
            </a:pPr>
            <a:r>
              <a:rPr lang="ru-RU" b="1" spc="-10" dirty="0">
                <a:cs typeface="Arial"/>
              </a:rPr>
              <a:t>К</a:t>
            </a:r>
            <a:r>
              <a:rPr lang="ru-RU" b="1" spc="20" dirty="0">
                <a:cs typeface="Arial"/>
              </a:rPr>
              <a:t>л</a:t>
            </a:r>
            <a:r>
              <a:rPr lang="ru-RU" b="1" spc="-65" dirty="0">
                <a:cs typeface="Arial"/>
              </a:rPr>
              <a:t>ю</a:t>
            </a:r>
            <a:r>
              <a:rPr lang="ru-RU" b="1" spc="-35" dirty="0">
                <a:cs typeface="Arial"/>
              </a:rPr>
              <a:t>ч</a:t>
            </a:r>
            <a:r>
              <a:rPr lang="ru-RU" b="1" spc="10" dirty="0">
                <a:cs typeface="Arial"/>
              </a:rPr>
              <a:t>е</a:t>
            </a:r>
            <a:r>
              <a:rPr lang="ru-RU" b="1" spc="-20" dirty="0">
                <a:cs typeface="Arial"/>
              </a:rPr>
              <a:t>в</a:t>
            </a:r>
            <a:r>
              <a:rPr lang="ru-RU" b="1" spc="15" dirty="0">
                <a:cs typeface="Arial"/>
              </a:rPr>
              <a:t>ы</a:t>
            </a:r>
            <a:r>
              <a:rPr lang="ru-RU" b="1" spc="-5" dirty="0">
                <a:cs typeface="Arial"/>
              </a:rPr>
              <a:t>е</a:t>
            </a:r>
            <a:r>
              <a:rPr lang="ru-RU" b="1" spc="-180" dirty="0">
                <a:cs typeface="Arial"/>
              </a:rPr>
              <a:t> </a:t>
            </a:r>
            <a:r>
              <a:rPr lang="ru-RU" b="1" dirty="0">
                <a:cs typeface="Arial"/>
              </a:rPr>
              <a:t>н</a:t>
            </a:r>
            <a:r>
              <a:rPr lang="ru-RU" b="1" spc="10" dirty="0">
                <a:cs typeface="Arial"/>
              </a:rPr>
              <a:t>а</a:t>
            </a:r>
            <a:r>
              <a:rPr lang="ru-RU" b="1" dirty="0">
                <a:cs typeface="Arial"/>
              </a:rPr>
              <a:t>п</a:t>
            </a:r>
            <a:r>
              <a:rPr lang="ru-RU" b="1" spc="-5" dirty="0">
                <a:cs typeface="Arial"/>
              </a:rPr>
              <a:t>р</a:t>
            </a:r>
            <a:r>
              <a:rPr lang="ru-RU" b="1" spc="5" dirty="0">
                <a:cs typeface="Arial"/>
              </a:rPr>
              <a:t>а</a:t>
            </a:r>
            <a:r>
              <a:rPr lang="ru-RU" b="1" spc="-95" dirty="0">
                <a:cs typeface="Arial"/>
              </a:rPr>
              <a:t>в</a:t>
            </a:r>
            <a:r>
              <a:rPr lang="ru-RU" b="1" spc="-55" dirty="0">
                <a:cs typeface="Arial"/>
              </a:rPr>
              <a:t>л</a:t>
            </a:r>
            <a:r>
              <a:rPr lang="ru-RU" b="1" spc="10" dirty="0">
                <a:cs typeface="Arial"/>
              </a:rPr>
              <a:t>е</a:t>
            </a:r>
            <a:r>
              <a:rPr lang="ru-RU" b="1" spc="-75" dirty="0">
                <a:cs typeface="Arial"/>
              </a:rPr>
              <a:t>н</a:t>
            </a:r>
            <a:r>
              <a:rPr lang="ru-RU" b="1" spc="-20" dirty="0">
                <a:cs typeface="Arial"/>
              </a:rPr>
              <a:t>и</a:t>
            </a:r>
            <a:r>
              <a:rPr lang="ru-RU" b="1" spc="-40" dirty="0">
                <a:cs typeface="Arial"/>
              </a:rPr>
              <a:t>я</a:t>
            </a:r>
            <a:r>
              <a:rPr lang="ru-RU" b="1" spc="-5" dirty="0">
                <a:cs typeface="Arial"/>
              </a:rPr>
              <a:t>:</a:t>
            </a:r>
            <a:endParaRPr lang="ru-RU" dirty="0">
              <a:cs typeface="Arial"/>
            </a:endParaRPr>
          </a:p>
          <a:p>
            <a:pPr marL="246379" marR="248920" indent="-234315">
              <a:lnSpc>
                <a:spcPts val="1920"/>
              </a:lnSpc>
              <a:spcBef>
                <a:spcPts val="1060"/>
              </a:spcBef>
              <a:buChar char="•"/>
              <a:tabLst>
                <a:tab pos="246379" algn="l"/>
                <a:tab pos="247015" algn="l"/>
              </a:tabLst>
            </a:pPr>
            <a:r>
              <a:rPr lang="ru-RU" spc="-20" dirty="0">
                <a:cs typeface="Microsoft Sans Serif"/>
              </a:rPr>
              <a:t>введение</a:t>
            </a:r>
            <a:r>
              <a:rPr lang="ru-RU" spc="-145" dirty="0">
                <a:cs typeface="Microsoft Sans Serif"/>
              </a:rPr>
              <a:t> </a:t>
            </a:r>
            <a:r>
              <a:rPr lang="ru-RU" spc="-5" dirty="0">
                <a:cs typeface="Microsoft Sans Serif"/>
              </a:rPr>
              <a:t>в</a:t>
            </a:r>
            <a:r>
              <a:rPr lang="ru-RU" spc="-20" dirty="0">
                <a:cs typeface="Microsoft Sans Serif"/>
              </a:rPr>
              <a:t> </a:t>
            </a:r>
            <a:r>
              <a:rPr lang="ru-RU" spc="-30" dirty="0">
                <a:cs typeface="Microsoft Sans Serif"/>
              </a:rPr>
              <a:t>контекст</a:t>
            </a:r>
            <a:r>
              <a:rPr lang="ru-RU" spc="-125" dirty="0">
                <a:cs typeface="Microsoft Sans Serif"/>
              </a:rPr>
              <a:t> </a:t>
            </a:r>
            <a:r>
              <a:rPr lang="ru-RU" spc="-15" dirty="0">
                <a:cs typeface="Microsoft Sans Serif"/>
              </a:rPr>
              <a:t>создания</a:t>
            </a:r>
            <a:r>
              <a:rPr lang="ru-RU" spc="-200" dirty="0">
                <a:cs typeface="Microsoft Sans Serif"/>
              </a:rPr>
              <a:t> </a:t>
            </a:r>
            <a:r>
              <a:rPr lang="ru-RU" spc="-10" dirty="0">
                <a:cs typeface="Microsoft Sans Serif"/>
              </a:rPr>
              <a:t>и</a:t>
            </a:r>
            <a:r>
              <a:rPr lang="ru-RU" spc="-65" dirty="0">
                <a:cs typeface="Microsoft Sans Serif"/>
              </a:rPr>
              <a:t> </a:t>
            </a:r>
            <a:r>
              <a:rPr lang="ru-RU" spc="-20" dirty="0">
                <a:cs typeface="Microsoft Sans Serif"/>
              </a:rPr>
              <a:t>использования</a:t>
            </a:r>
            <a:r>
              <a:rPr lang="ru-RU" spc="-204" dirty="0">
                <a:cs typeface="Microsoft Sans Serif"/>
              </a:rPr>
              <a:t> </a:t>
            </a:r>
            <a:r>
              <a:rPr lang="ru-RU" spc="-20" dirty="0">
                <a:cs typeface="Microsoft Sans Serif"/>
              </a:rPr>
              <a:t>современных</a:t>
            </a:r>
            <a:r>
              <a:rPr lang="ru-RU" spc="-200" dirty="0">
                <a:cs typeface="Microsoft Sans Serif"/>
              </a:rPr>
              <a:t> </a:t>
            </a:r>
            <a:r>
              <a:rPr lang="ru-RU" spc="-10" dirty="0">
                <a:cs typeface="Microsoft Sans Serif"/>
              </a:rPr>
              <a:t>и</a:t>
            </a:r>
            <a:r>
              <a:rPr lang="ru-RU" spc="15" dirty="0">
                <a:cs typeface="Microsoft Sans Serif"/>
              </a:rPr>
              <a:t> </a:t>
            </a:r>
            <a:r>
              <a:rPr lang="ru-RU" spc="-15" dirty="0">
                <a:cs typeface="Microsoft Sans Serif"/>
              </a:rPr>
              <a:t>традиционных</a:t>
            </a:r>
            <a:r>
              <a:rPr lang="ru-RU" spc="-200" dirty="0">
                <a:cs typeface="Microsoft Sans Serif"/>
              </a:rPr>
              <a:t> </a:t>
            </a:r>
            <a:r>
              <a:rPr lang="ru-RU" spc="-15" dirty="0">
                <a:cs typeface="Microsoft Sans Serif"/>
              </a:rPr>
              <a:t>технологий,</a:t>
            </a:r>
            <a:r>
              <a:rPr lang="ru-RU" spc="-200" dirty="0">
                <a:cs typeface="Microsoft Sans Serif"/>
              </a:rPr>
              <a:t> </a:t>
            </a:r>
            <a:r>
              <a:rPr lang="ru-RU" spc="-25" dirty="0">
                <a:cs typeface="Microsoft Sans Serif"/>
              </a:rPr>
              <a:t>технологической </a:t>
            </a:r>
            <a:r>
              <a:rPr lang="ru-RU" spc="-475" dirty="0">
                <a:cs typeface="Microsoft Sans Serif"/>
              </a:rPr>
              <a:t> </a:t>
            </a:r>
            <a:r>
              <a:rPr lang="ru-RU" spc="-5" dirty="0">
                <a:cs typeface="Microsoft Sans Serif"/>
              </a:rPr>
              <a:t>эволюции</a:t>
            </a:r>
            <a:r>
              <a:rPr lang="ru-RU" spc="-160" dirty="0">
                <a:cs typeface="Microsoft Sans Serif"/>
              </a:rPr>
              <a:t> </a:t>
            </a:r>
            <a:r>
              <a:rPr lang="ru-RU" spc="-25" dirty="0">
                <a:cs typeface="Microsoft Sans Serif"/>
              </a:rPr>
              <a:t>человечества,</a:t>
            </a:r>
            <a:r>
              <a:rPr lang="ru-RU" spc="-204" dirty="0">
                <a:cs typeface="Microsoft Sans Serif"/>
              </a:rPr>
              <a:t> </a:t>
            </a:r>
            <a:r>
              <a:rPr lang="ru-RU" dirty="0">
                <a:cs typeface="Microsoft Sans Serif"/>
              </a:rPr>
              <a:t>ее</a:t>
            </a:r>
            <a:r>
              <a:rPr lang="ru-RU" spc="-75" dirty="0">
                <a:cs typeface="Microsoft Sans Serif"/>
              </a:rPr>
              <a:t> </a:t>
            </a:r>
            <a:r>
              <a:rPr lang="ru-RU" spc="-30" dirty="0">
                <a:cs typeface="Microsoft Sans Serif"/>
              </a:rPr>
              <a:t>закономерностей,</a:t>
            </a:r>
            <a:r>
              <a:rPr lang="ru-RU" spc="-204" dirty="0">
                <a:cs typeface="Microsoft Sans Serif"/>
              </a:rPr>
              <a:t> </a:t>
            </a:r>
            <a:r>
              <a:rPr lang="ru-RU" spc="-20" dirty="0">
                <a:cs typeface="Microsoft Sans Serif"/>
              </a:rPr>
              <a:t>современных</a:t>
            </a:r>
            <a:r>
              <a:rPr lang="ru-RU" spc="-210" dirty="0">
                <a:cs typeface="Microsoft Sans Serif"/>
              </a:rPr>
              <a:t> </a:t>
            </a:r>
            <a:r>
              <a:rPr lang="ru-RU" spc="-15" dirty="0">
                <a:cs typeface="Microsoft Sans Serif"/>
              </a:rPr>
              <a:t>тенденций,</a:t>
            </a:r>
            <a:r>
              <a:rPr lang="ru-RU" spc="-120" dirty="0">
                <a:cs typeface="Microsoft Sans Serif"/>
              </a:rPr>
              <a:t> </a:t>
            </a:r>
            <a:r>
              <a:rPr lang="ru-RU" spc="-5" dirty="0">
                <a:cs typeface="Microsoft Sans Serif"/>
              </a:rPr>
              <a:t>сущности</a:t>
            </a:r>
            <a:r>
              <a:rPr lang="ru-RU" spc="-160" dirty="0">
                <a:cs typeface="Microsoft Sans Serif"/>
              </a:rPr>
              <a:t> </a:t>
            </a:r>
            <a:r>
              <a:rPr lang="ru-RU" spc="-25" dirty="0">
                <a:cs typeface="Microsoft Sans Serif"/>
              </a:rPr>
              <a:t>инновационной</a:t>
            </a:r>
            <a:endParaRPr lang="ru-RU" dirty="0">
              <a:cs typeface="Microsoft Sans Serif"/>
            </a:endParaRPr>
          </a:p>
          <a:p>
            <a:pPr marL="246379">
              <a:lnSpc>
                <a:spcPts val="1910"/>
              </a:lnSpc>
            </a:pPr>
            <a:r>
              <a:rPr lang="ru-RU" spc="-10" dirty="0">
                <a:cs typeface="Microsoft Sans Serif"/>
              </a:rPr>
              <a:t>деятельности;</a:t>
            </a:r>
            <a:endParaRPr lang="ru-RU" dirty="0">
              <a:cs typeface="Microsoft Sans Serif"/>
            </a:endParaRPr>
          </a:p>
          <a:p>
            <a:pPr marL="246379" marR="746760" indent="-234315">
              <a:lnSpc>
                <a:spcPct val="88400"/>
              </a:lnSpc>
              <a:spcBef>
                <a:spcPts val="1705"/>
              </a:spcBef>
              <a:buChar char="•"/>
              <a:tabLst>
                <a:tab pos="246379" algn="l"/>
                <a:tab pos="247015" algn="l"/>
              </a:tabLst>
            </a:pPr>
            <a:r>
              <a:rPr lang="ru-RU" spc="-25" dirty="0">
                <a:cs typeface="Microsoft Sans Serif"/>
              </a:rPr>
              <a:t>получение </a:t>
            </a:r>
            <a:r>
              <a:rPr lang="ru-RU" dirty="0">
                <a:cs typeface="Microsoft Sans Serif"/>
              </a:rPr>
              <a:t>опыта </a:t>
            </a:r>
            <a:r>
              <a:rPr lang="ru-RU" spc="-30" dirty="0">
                <a:cs typeface="Microsoft Sans Serif"/>
              </a:rPr>
              <a:t>персонифицированного </a:t>
            </a:r>
            <a:r>
              <a:rPr lang="ru-RU" spc="-10" dirty="0">
                <a:cs typeface="Microsoft Sans Serif"/>
              </a:rPr>
              <a:t>действия и </a:t>
            </a:r>
            <a:r>
              <a:rPr lang="ru-RU" spc="-30" dirty="0">
                <a:cs typeface="Microsoft Sans Serif"/>
              </a:rPr>
              <a:t>трудовое </a:t>
            </a:r>
            <a:r>
              <a:rPr lang="ru-RU" spc="-10" dirty="0">
                <a:cs typeface="Microsoft Sans Serif"/>
              </a:rPr>
              <a:t>воспитание </a:t>
            </a:r>
            <a:r>
              <a:rPr lang="ru-RU" spc="-5" dirty="0">
                <a:cs typeface="Microsoft Sans Serif"/>
              </a:rPr>
              <a:t>в </a:t>
            </a:r>
            <a:r>
              <a:rPr lang="ru-RU" spc="-15" dirty="0">
                <a:cs typeface="Microsoft Sans Serif"/>
              </a:rPr>
              <a:t>процессе </a:t>
            </a:r>
            <a:r>
              <a:rPr lang="ru-RU" spc="-30" dirty="0">
                <a:cs typeface="Microsoft Sans Serif"/>
              </a:rPr>
              <a:t>разработки </a:t>
            </a:r>
            <a:r>
              <a:rPr lang="ru-RU" spc="-25" dirty="0">
                <a:cs typeface="Microsoft Sans Serif"/>
              </a:rPr>
              <a:t> </a:t>
            </a:r>
            <a:r>
              <a:rPr lang="ru-RU" spc="-30" dirty="0">
                <a:cs typeface="Microsoft Sans Serif"/>
              </a:rPr>
              <a:t>технологических</a:t>
            </a:r>
            <a:r>
              <a:rPr lang="ru-RU" spc="-204" dirty="0">
                <a:cs typeface="Microsoft Sans Serif"/>
              </a:rPr>
              <a:t> </a:t>
            </a:r>
            <a:r>
              <a:rPr lang="ru-RU" spc="-15" dirty="0">
                <a:cs typeface="Microsoft Sans Serif"/>
              </a:rPr>
              <a:t>решений</a:t>
            </a:r>
            <a:r>
              <a:rPr lang="ru-RU" spc="-145" dirty="0">
                <a:cs typeface="Microsoft Sans Serif"/>
              </a:rPr>
              <a:t> </a:t>
            </a:r>
            <a:r>
              <a:rPr lang="ru-RU" spc="-10" dirty="0">
                <a:cs typeface="Microsoft Sans Serif"/>
              </a:rPr>
              <a:t>и</a:t>
            </a:r>
            <a:r>
              <a:rPr lang="ru-RU" spc="15" dirty="0">
                <a:cs typeface="Microsoft Sans Serif"/>
              </a:rPr>
              <a:t> </a:t>
            </a:r>
            <a:r>
              <a:rPr lang="ru-RU" dirty="0">
                <a:cs typeface="Microsoft Sans Serif"/>
              </a:rPr>
              <a:t>их</a:t>
            </a:r>
            <a:r>
              <a:rPr lang="ru-RU" spc="-35" dirty="0">
                <a:cs typeface="Microsoft Sans Serif"/>
              </a:rPr>
              <a:t> применения,</a:t>
            </a:r>
            <a:r>
              <a:rPr lang="ru-RU" spc="-30" dirty="0">
                <a:cs typeface="Microsoft Sans Serif"/>
              </a:rPr>
              <a:t> </a:t>
            </a:r>
            <a:r>
              <a:rPr lang="ru-RU" spc="-25" dirty="0">
                <a:cs typeface="Microsoft Sans Serif"/>
              </a:rPr>
              <a:t>изучения</a:t>
            </a:r>
            <a:r>
              <a:rPr lang="ru-RU" spc="-200" dirty="0">
                <a:cs typeface="Microsoft Sans Serif"/>
              </a:rPr>
              <a:t> </a:t>
            </a:r>
            <a:r>
              <a:rPr lang="ru-RU" spc="-10" dirty="0">
                <a:cs typeface="Microsoft Sans Serif"/>
              </a:rPr>
              <a:t>и</a:t>
            </a:r>
            <a:r>
              <a:rPr lang="ru-RU" spc="15" dirty="0">
                <a:cs typeface="Microsoft Sans Serif"/>
              </a:rPr>
              <a:t> </a:t>
            </a:r>
            <a:r>
              <a:rPr lang="ru-RU" spc="-20" dirty="0">
                <a:cs typeface="Microsoft Sans Serif"/>
              </a:rPr>
              <a:t>анализа</a:t>
            </a:r>
            <a:r>
              <a:rPr lang="ru-RU" spc="-140" dirty="0">
                <a:cs typeface="Microsoft Sans Serif"/>
              </a:rPr>
              <a:t> </a:t>
            </a:r>
            <a:r>
              <a:rPr lang="ru-RU" spc="-10" dirty="0">
                <a:cs typeface="Microsoft Sans Serif"/>
              </a:rPr>
              <a:t>меняющихся</a:t>
            </a:r>
            <a:r>
              <a:rPr lang="ru-RU" spc="-200" dirty="0">
                <a:cs typeface="Microsoft Sans Serif"/>
              </a:rPr>
              <a:t> </a:t>
            </a:r>
            <a:r>
              <a:rPr lang="ru-RU" spc="-25" dirty="0">
                <a:cs typeface="Microsoft Sans Serif"/>
              </a:rPr>
              <a:t>потребностей</a:t>
            </a:r>
            <a:r>
              <a:rPr lang="ru-RU" spc="-150" dirty="0">
                <a:cs typeface="Microsoft Sans Serif"/>
              </a:rPr>
              <a:t> </a:t>
            </a:r>
            <a:r>
              <a:rPr lang="ru-RU" spc="-30" dirty="0">
                <a:cs typeface="Microsoft Sans Serif"/>
              </a:rPr>
              <a:t>человека</a:t>
            </a:r>
            <a:r>
              <a:rPr lang="ru-RU" spc="-150" dirty="0">
                <a:cs typeface="Microsoft Sans Serif"/>
              </a:rPr>
              <a:t> </a:t>
            </a:r>
            <a:r>
              <a:rPr lang="ru-RU" spc="-10" dirty="0">
                <a:cs typeface="Microsoft Sans Serif"/>
              </a:rPr>
              <a:t>и </a:t>
            </a:r>
            <a:r>
              <a:rPr lang="ru-RU" spc="-475" dirty="0">
                <a:cs typeface="Microsoft Sans Serif"/>
              </a:rPr>
              <a:t> </a:t>
            </a:r>
            <a:r>
              <a:rPr lang="ru-RU" spc="-5" dirty="0">
                <a:cs typeface="Microsoft Sans Serif"/>
              </a:rPr>
              <a:t>общества;</a:t>
            </a:r>
            <a:endParaRPr lang="ru-RU" dirty="0">
              <a:cs typeface="Microsoft Sans Serif"/>
            </a:endParaRPr>
          </a:p>
          <a:p>
            <a:pPr marL="246379" indent="-234315">
              <a:lnSpc>
                <a:spcPct val="100000"/>
              </a:lnSpc>
              <a:spcBef>
                <a:spcPts val="1365"/>
              </a:spcBef>
              <a:buChar char="•"/>
              <a:tabLst>
                <a:tab pos="246379" algn="l"/>
                <a:tab pos="247015" algn="l"/>
              </a:tabLst>
            </a:pPr>
            <a:r>
              <a:rPr lang="ru-RU" spc="-20" dirty="0">
                <a:cs typeface="Microsoft Sans Serif"/>
              </a:rPr>
              <a:t>введение</a:t>
            </a:r>
            <a:r>
              <a:rPr lang="ru-RU" spc="-150" dirty="0">
                <a:cs typeface="Microsoft Sans Serif"/>
              </a:rPr>
              <a:t> </a:t>
            </a:r>
            <a:r>
              <a:rPr lang="ru-RU" spc="-5" dirty="0">
                <a:cs typeface="Microsoft Sans Serif"/>
              </a:rPr>
              <a:t>в</a:t>
            </a:r>
            <a:r>
              <a:rPr lang="ru-RU" spc="-15" dirty="0">
                <a:cs typeface="Microsoft Sans Serif"/>
              </a:rPr>
              <a:t> мир</a:t>
            </a:r>
            <a:r>
              <a:rPr lang="ru-RU" spc="-65" dirty="0">
                <a:cs typeface="Microsoft Sans Serif"/>
              </a:rPr>
              <a:t> </a:t>
            </a:r>
            <a:r>
              <a:rPr lang="ru-RU" spc="-10" dirty="0">
                <a:cs typeface="Microsoft Sans Serif"/>
              </a:rPr>
              <a:t>профессий,</a:t>
            </a:r>
            <a:r>
              <a:rPr lang="ru-RU" spc="-200" dirty="0">
                <a:cs typeface="Microsoft Sans Serif"/>
              </a:rPr>
              <a:t> </a:t>
            </a:r>
            <a:r>
              <a:rPr lang="ru-RU" spc="-30" dirty="0">
                <a:cs typeface="Microsoft Sans Serif"/>
              </a:rPr>
              <a:t>включая</a:t>
            </a:r>
            <a:r>
              <a:rPr lang="ru-RU" spc="-120" dirty="0">
                <a:cs typeface="Microsoft Sans Serif"/>
              </a:rPr>
              <a:t> </a:t>
            </a:r>
            <a:r>
              <a:rPr lang="ru-RU" spc="-10" dirty="0">
                <a:cs typeface="Microsoft Sans Serif"/>
              </a:rPr>
              <a:t>профессии</a:t>
            </a:r>
            <a:r>
              <a:rPr lang="ru-RU" spc="-235" dirty="0">
                <a:cs typeface="Microsoft Sans Serif"/>
              </a:rPr>
              <a:t> </a:t>
            </a:r>
            <a:r>
              <a:rPr lang="ru-RU" spc="-25" dirty="0">
                <a:cs typeface="Microsoft Sans Serif"/>
              </a:rPr>
              <a:t>будущего,</a:t>
            </a:r>
            <a:r>
              <a:rPr lang="ru-RU" spc="-195" dirty="0">
                <a:cs typeface="Microsoft Sans Serif"/>
              </a:rPr>
              <a:t> </a:t>
            </a:r>
            <a:r>
              <a:rPr lang="ru-RU" spc="-20" dirty="0">
                <a:cs typeface="Microsoft Sans Serif"/>
              </a:rPr>
              <a:t>профессиональное</a:t>
            </a:r>
            <a:r>
              <a:rPr lang="ru-RU" spc="-229" dirty="0">
                <a:cs typeface="Microsoft Sans Serif"/>
              </a:rPr>
              <a:t> </a:t>
            </a:r>
            <a:r>
              <a:rPr lang="ru-RU" spc="-25" dirty="0">
                <a:cs typeface="Microsoft Sans Serif"/>
              </a:rPr>
              <a:t>самоопределение</a:t>
            </a:r>
            <a:endParaRPr lang="ru-RU" dirty="0">
              <a:cs typeface="Microsoft Sans Serif"/>
            </a:endParaRPr>
          </a:p>
          <a:p>
            <a:pPr marL="246379" marR="5080" indent="-234315" algn="just">
              <a:lnSpc>
                <a:spcPct val="87300"/>
              </a:lnSpc>
              <a:spcBef>
                <a:spcPts val="1725"/>
              </a:spcBef>
            </a:pPr>
            <a:r>
              <a:rPr lang="ru-RU" b="1" spc="-30" dirty="0">
                <a:cs typeface="Arial"/>
              </a:rPr>
              <a:t>Ведущей</a:t>
            </a:r>
            <a:r>
              <a:rPr lang="ru-RU" b="1" spc="-25" dirty="0">
                <a:cs typeface="Arial"/>
              </a:rPr>
              <a:t> формой</a:t>
            </a:r>
            <a:r>
              <a:rPr lang="ru-RU" b="1" spc="-20" dirty="0">
                <a:cs typeface="Arial"/>
              </a:rPr>
              <a:t> учебной</a:t>
            </a:r>
            <a:r>
              <a:rPr lang="ru-RU" b="1" spc="-15" dirty="0">
                <a:cs typeface="Arial"/>
              </a:rPr>
              <a:t> </a:t>
            </a:r>
            <a:r>
              <a:rPr lang="ru-RU" b="1" spc="-25" dirty="0">
                <a:cs typeface="Arial"/>
              </a:rPr>
              <a:t>деятельности</a:t>
            </a:r>
            <a:r>
              <a:rPr lang="ru-RU" b="1" spc="-20" dirty="0">
                <a:cs typeface="Arial"/>
              </a:rPr>
              <a:t> </a:t>
            </a:r>
            <a:r>
              <a:rPr lang="ru-RU" spc="-5" dirty="0">
                <a:cs typeface="Microsoft Sans Serif"/>
              </a:rPr>
              <a:t>в</a:t>
            </a:r>
            <a:r>
              <a:rPr lang="ru-RU" dirty="0">
                <a:cs typeface="Microsoft Sans Serif"/>
              </a:rPr>
              <a:t> </a:t>
            </a:r>
            <a:r>
              <a:rPr lang="ru-RU" spc="-40" dirty="0">
                <a:cs typeface="Microsoft Sans Serif"/>
              </a:rPr>
              <a:t>ходе</a:t>
            </a:r>
            <a:r>
              <a:rPr lang="ru-RU" spc="-35" dirty="0">
                <a:cs typeface="Microsoft Sans Serif"/>
              </a:rPr>
              <a:t> </a:t>
            </a:r>
            <a:r>
              <a:rPr lang="ru-RU" spc="-25" dirty="0">
                <a:cs typeface="Microsoft Sans Serif"/>
              </a:rPr>
              <a:t>освоения</a:t>
            </a:r>
            <a:r>
              <a:rPr lang="ru-RU" spc="-20" dirty="0">
                <a:cs typeface="Microsoft Sans Serif"/>
              </a:rPr>
              <a:t> </a:t>
            </a:r>
            <a:r>
              <a:rPr lang="ru-RU" spc="-40" dirty="0">
                <a:cs typeface="Microsoft Sans Serif"/>
              </a:rPr>
              <a:t>предметной</a:t>
            </a:r>
            <a:r>
              <a:rPr lang="ru-RU" spc="-35" dirty="0">
                <a:cs typeface="Microsoft Sans Serif"/>
              </a:rPr>
              <a:t> </a:t>
            </a:r>
            <a:r>
              <a:rPr lang="ru-RU" spc="-40" dirty="0">
                <a:cs typeface="Microsoft Sans Serif"/>
              </a:rPr>
              <a:t>области</a:t>
            </a:r>
            <a:r>
              <a:rPr lang="ru-RU" spc="-35" dirty="0">
                <a:cs typeface="Microsoft Sans Serif"/>
              </a:rPr>
              <a:t> </a:t>
            </a:r>
            <a:r>
              <a:rPr lang="ru-RU" spc="-40" dirty="0">
                <a:cs typeface="Microsoft Sans Serif"/>
              </a:rPr>
              <a:t>«Технология»</a:t>
            </a:r>
            <a:r>
              <a:rPr lang="ru-RU" spc="-35" dirty="0">
                <a:cs typeface="Microsoft Sans Serif"/>
              </a:rPr>
              <a:t> </a:t>
            </a:r>
            <a:r>
              <a:rPr lang="ru-RU" spc="-30" dirty="0">
                <a:cs typeface="Microsoft Sans Serif"/>
              </a:rPr>
              <a:t>является </a:t>
            </a:r>
            <a:r>
              <a:rPr lang="ru-RU" spc="-25" dirty="0">
                <a:cs typeface="Microsoft Sans Serif"/>
              </a:rPr>
              <a:t> </a:t>
            </a:r>
            <a:r>
              <a:rPr lang="ru-RU" spc="-35" dirty="0">
                <a:cs typeface="Microsoft Sans Serif"/>
              </a:rPr>
              <a:t>проектная</a:t>
            </a:r>
            <a:r>
              <a:rPr lang="ru-RU" spc="-30" dirty="0">
                <a:cs typeface="Microsoft Sans Serif"/>
              </a:rPr>
              <a:t> </a:t>
            </a:r>
            <a:r>
              <a:rPr lang="ru-RU" spc="-35" dirty="0">
                <a:cs typeface="Microsoft Sans Serif"/>
              </a:rPr>
              <a:t>деятельность</a:t>
            </a:r>
            <a:r>
              <a:rPr lang="ru-RU" spc="-30" dirty="0">
                <a:cs typeface="Microsoft Sans Serif"/>
              </a:rPr>
              <a:t> </a:t>
            </a:r>
            <a:r>
              <a:rPr lang="ru-RU" spc="-5" dirty="0">
                <a:cs typeface="Microsoft Sans Serif"/>
              </a:rPr>
              <a:t>в</a:t>
            </a:r>
            <a:r>
              <a:rPr lang="ru-RU" dirty="0">
                <a:cs typeface="Microsoft Sans Serif"/>
              </a:rPr>
              <a:t> </a:t>
            </a:r>
            <a:r>
              <a:rPr lang="ru-RU" spc="-50" dirty="0">
                <a:cs typeface="Microsoft Sans Serif"/>
              </a:rPr>
              <a:t>полном</a:t>
            </a:r>
            <a:r>
              <a:rPr lang="ru-RU" spc="-45" dirty="0">
                <a:cs typeface="Microsoft Sans Serif"/>
              </a:rPr>
              <a:t> </a:t>
            </a:r>
            <a:r>
              <a:rPr lang="ru-RU" spc="-40" dirty="0">
                <a:cs typeface="Microsoft Sans Serif"/>
              </a:rPr>
              <a:t>цикле:</a:t>
            </a:r>
            <a:r>
              <a:rPr lang="ru-RU" spc="-35" dirty="0">
                <a:cs typeface="Microsoft Sans Serif"/>
              </a:rPr>
              <a:t> </a:t>
            </a:r>
            <a:r>
              <a:rPr lang="ru-RU" spc="-50" dirty="0">
                <a:cs typeface="Microsoft Sans Serif"/>
              </a:rPr>
              <a:t>«от</a:t>
            </a:r>
            <a:r>
              <a:rPr lang="ru-RU" spc="-45" dirty="0">
                <a:cs typeface="Microsoft Sans Serif"/>
              </a:rPr>
              <a:t> </a:t>
            </a:r>
            <a:r>
              <a:rPr lang="ru-RU" spc="-30" dirty="0">
                <a:cs typeface="Microsoft Sans Serif"/>
              </a:rPr>
              <a:t>выделения</a:t>
            </a:r>
            <a:r>
              <a:rPr lang="ru-RU" spc="-25" dirty="0">
                <a:cs typeface="Microsoft Sans Serif"/>
              </a:rPr>
              <a:t> </a:t>
            </a:r>
            <a:r>
              <a:rPr lang="ru-RU" spc="-45" dirty="0">
                <a:cs typeface="Microsoft Sans Serif"/>
              </a:rPr>
              <a:t>проблемы</a:t>
            </a:r>
            <a:r>
              <a:rPr lang="ru-RU" spc="-40" dirty="0">
                <a:cs typeface="Microsoft Sans Serif"/>
              </a:rPr>
              <a:t> </a:t>
            </a:r>
            <a:r>
              <a:rPr lang="ru-RU" spc="-25" dirty="0">
                <a:cs typeface="Microsoft Sans Serif"/>
              </a:rPr>
              <a:t>до</a:t>
            </a:r>
            <a:r>
              <a:rPr lang="ru-RU" spc="-20" dirty="0">
                <a:cs typeface="Microsoft Sans Serif"/>
              </a:rPr>
              <a:t> </a:t>
            </a:r>
            <a:r>
              <a:rPr lang="ru-RU" spc="-40" dirty="0">
                <a:cs typeface="Microsoft Sans Serif"/>
              </a:rPr>
              <a:t>внедрения</a:t>
            </a:r>
            <a:r>
              <a:rPr lang="ru-RU" spc="-35" dirty="0">
                <a:cs typeface="Microsoft Sans Serif"/>
              </a:rPr>
              <a:t> </a:t>
            </a:r>
            <a:r>
              <a:rPr lang="ru-RU" spc="-55" dirty="0">
                <a:cs typeface="Microsoft Sans Serif"/>
              </a:rPr>
              <a:t>результата».</a:t>
            </a:r>
            <a:r>
              <a:rPr lang="ru-RU" spc="-50" dirty="0">
                <a:cs typeface="Microsoft Sans Serif"/>
              </a:rPr>
              <a:t> </a:t>
            </a:r>
            <a:r>
              <a:rPr lang="ru-RU" spc="-40" dirty="0">
                <a:cs typeface="Microsoft Sans Serif"/>
              </a:rPr>
              <a:t>Именно </a:t>
            </a:r>
            <a:r>
              <a:rPr lang="ru-RU" spc="-35" dirty="0">
                <a:cs typeface="Microsoft Sans Serif"/>
              </a:rPr>
              <a:t> проектная</a:t>
            </a:r>
            <a:r>
              <a:rPr lang="ru-RU" spc="-30" dirty="0">
                <a:cs typeface="Microsoft Sans Serif"/>
              </a:rPr>
              <a:t> </a:t>
            </a:r>
            <a:r>
              <a:rPr lang="ru-RU" spc="-25" dirty="0">
                <a:cs typeface="Microsoft Sans Serif"/>
              </a:rPr>
              <a:t>деятельность</a:t>
            </a:r>
            <a:r>
              <a:rPr lang="ru-RU" spc="-20" dirty="0">
                <a:cs typeface="Microsoft Sans Serif"/>
              </a:rPr>
              <a:t> </a:t>
            </a:r>
            <a:r>
              <a:rPr lang="ru-RU" spc="-45" dirty="0">
                <a:cs typeface="Microsoft Sans Serif"/>
              </a:rPr>
              <a:t>органично</a:t>
            </a:r>
            <a:r>
              <a:rPr lang="ru-RU" spc="-40" dirty="0">
                <a:cs typeface="Microsoft Sans Serif"/>
              </a:rPr>
              <a:t> устанавливает</a:t>
            </a:r>
            <a:r>
              <a:rPr lang="ru-RU" spc="-35" dirty="0">
                <a:cs typeface="Microsoft Sans Serif"/>
              </a:rPr>
              <a:t> связи</a:t>
            </a:r>
            <a:r>
              <a:rPr lang="ru-RU" spc="-30" dirty="0">
                <a:cs typeface="Microsoft Sans Serif"/>
              </a:rPr>
              <a:t> </a:t>
            </a:r>
            <a:r>
              <a:rPr lang="ru-RU" spc="-55" dirty="0">
                <a:cs typeface="Microsoft Sans Serif"/>
              </a:rPr>
              <a:t>между</a:t>
            </a:r>
            <a:r>
              <a:rPr lang="ru-RU" spc="-50" dirty="0">
                <a:cs typeface="Microsoft Sans Serif"/>
              </a:rPr>
              <a:t> </a:t>
            </a:r>
            <a:r>
              <a:rPr lang="ru-RU" spc="-45" dirty="0">
                <a:cs typeface="Microsoft Sans Serif"/>
              </a:rPr>
              <a:t>образовательным</a:t>
            </a:r>
            <a:r>
              <a:rPr lang="ru-RU" spc="-40" dirty="0">
                <a:cs typeface="Microsoft Sans Serif"/>
              </a:rPr>
              <a:t> </a:t>
            </a:r>
            <a:r>
              <a:rPr lang="ru-RU" spc="-10" dirty="0">
                <a:cs typeface="Microsoft Sans Serif"/>
              </a:rPr>
              <a:t>и</a:t>
            </a:r>
            <a:r>
              <a:rPr lang="ru-RU" spc="-5" dirty="0">
                <a:cs typeface="Microsoft Sans Serif"/>
              </a:rPr>
              <a:t> </a:t>
            </a:r>
            <a:r>
              <a:rPr lang="ru-RU" spc="-45" dirty="0">
                <a:cs typeface="Microsoft Sans Serif"/>
              </a:rPr>
              <a:t>жизненным </a:t>
            </a:r>
            <a:r>
              <a:rPr lang="ru-RU" spc="-40" dirty="0">
                <a:cs typeface="Microsoft Sans Serif"/>
              </a:rPr>
              <a:t> </a:t>
            </a:r>
            <a:r>
              <a:rPr lang="ru-RU" spc="-25" dirty="0">
                <a:cs typeface="Microsoft Sans Serif"/>
              </a:rPr>
              <a:t>пространством,</a:t>
            </a:r>
            <a:r>
              <a:rPr lang="ru-RU" spc="-20" dirty="0">
                <a:cs typeface="Microsoft Sans Serif"/>
              </a:rPr>
              <a:t> </a:t>
            </a:r>
            <a:r>
              <a:rPr lang="ru-RU" spc="-40" dirty="0">
                <a:cs typeface="Microsoft Sans Serif"/>
              </a:rPr>
              <a:t>имеющие</a:t>
            </a:r>
            <a:r>
              <a:rPr lang="ru-RU" spc="-35" dirty="0">
                <a:cs typeface="Microsoft Sans Serif"/>
              </a:rPr>
              <a:t> </a:t>
            </a:r>
            <a:r>
              <a:rPr lang="ru-RU" spc="-20" dirty="0">
                <a:cs typeface="Microsoft Sans Serif"/>
              </a:rPr>
              <a:t>для</a:t>
            </a:r>
            <a:r>
              <a:rPr lang="ru-RU" spc="-15" dirty="0">
                <a:cs typeface="Microsoft Sans Serif"/>
              </a:rPr>
              <a:t> </a:t>
            </a:r>
            <a:r>
              <a:rPr lang="ru-RU" spc="-40" dirty="0">
                <a:cs typeface="Microsoft Sans Serif"/>
              </a:rPr>
              <a:t>обучающегося</a:t>
            </a:r>
            <a:r>
              <a:rPr lang="ru-RU" spc="-35" dirty="0">
                <a:cs typeface="Microsoft Sans Serif"/>
              </a:rPr>
              <a:t> ценность</a:t>
            </a:r>
            <a:r>
              <a:rPr lang="ru-RU" spc="-30" dirty="0">
                <a:cs typeface="Microsoft Sans Serif"/>
              </a:rPr>
              <a:t> </a:t>
            </a:r>
            <a:r>
              <a:rPr lang="ru-RU" spc="-10" dirty="0">
                <a:cs typeface="Microsoft Sans Serif"/>
              </a:rPr>
              <a:t>и</a:t>
            </a:r>
            <a:r>
              <a:rPr lang="ru-RU" spc="-5" dirty="0">
                <a:cs typeface="Microsoft Sans Serif"/>
              </a:rPr>
              <a:t> </a:t>
            </a:r>
            <a:r>
              <a:rPr lang="ru-RU" spc="-35" dirty="0">
                <a:cs typeface="Microsoft Sans Serif"/>
              </a:rPr>
              <a:t>личностный</a:t>
            </a:r>
            <a:r>
              <a:rPr lang="ru-RU" spc="-30" dirty="0">
                <a:cs typeface="Microsoft Sans Serif"/>
              </a:rPr>
              <a:t> </a:t>
            </a:r>
            <a:r>
              <a:rPr lang="ru-RU" spc="-25" dirty="0">
                <a:cs typeface="Microsoft Sans Serif"/>
              </a:rPr>
              <a:t>смысл.</a:t>
            </a:r>
            <a:r>
              <a:rPr lang="ru-RU" spc="-20" dirty="0">
                <a:cs typeface="Microsoft Sans Serif"/>
              </a:rPr>
              <a:t> </a:t>
            </a:r>
            <a:r>
              <a:rPr lang="ru-RU" spc="-55" dirty="0">
                <a:cs typeface="Microsoft Sans Serif"/>
              </a:rPr>
              <a:t>Разработка</a:t>
            </a:r>
            <a:r>
              <a:rPr lang="ru-RU" spc="-50" dirty="0">
                <a:cs typeface="Microsoft Sans Serif"/>
              </a:rPr>
              <a:t> </a:t>
            </a:r>
            <a:r>
              <a:rPr lang="ru-RU" spc="-10" dirty="0">
                <a:cs typeface="Microsoft Sans Serif"/>
              </a:rPr>
              <a:t>и</a:t>
            </a:r>
            <a:r>
              <a:rPr lang="ru-RU" spc="470" dirty="0">
                <a:cs typeface="Microsoft Sans Serif"/>
              </a:rPr>
              <a:t> </a:t>
            </a:r>
            <a:r>
              <a:rPr lang="ru-RU" spc="-30" dirty="0">
                <a:cs typeface="Microsoft Sans Serif"/>
              </a:rPr>
              <a:t>реализация </a:t>
            </a:r>
            <a:r>
              <a:rPr lang="ru-RU" spc="-25" dirty="0">
                <a:cs typeface="Microsoft Sans Serif"/>
              </a:rPr>
              <a:t> </a:t>
            </a:r>
            <a:r>
              <a:rPr lang="ru-RU" spc="-45" dirty="0">
                <a:cs typeface="Microsoft Sans Serif"/>
              </a:rPr>
              <a:t>проекта</a:t>
            </a:r>
            <a:r>
              <a:rPr lang="ru-RU" spc="-40" dirty="0">
                <a:cs typeface="Microsoft Sans Serif"/>
              </a:rPr>
              <a:t> </a:t>
            </a:r>
            <a:r>
              <a:rPr lang="ru-RU" spc="-5" dirty="0">
                <a:cs typeface="Microsoft Sans Serif"/>
              </a:rPr>
              <a:t>в</a:t>
            </a:r>
            <a:r>
              <a:rPr lang="ru-RU" dirty="0">
                <a:cs typeface="Microsoft Sans Serif"/>
              </a:rPr>
              <a:t> </a:t>
            </a:r>
            <a:r>
              <a:rPr lang="ru-RU" spc="-40" dirty="0">
                <a:cs typeface="Microsoft Sans Serif"/>
              </a:rPr>
              <a:t>предметной</a:t>
            </a:r>
            <a:r>
              <a:rPr lang="ru-RU" spc="-35" dirty="0">
                <a:cs typeface="Microsoft Sans Serif"/>
              </a:rPr>
              <a:t> </a:t>
            </a:r>
            <a:r>
              <a:rPr lang="ru-RU" spc="-30" dirty="0">
                <a:cs typeface="Microsoft Sans Serif"/>
              </a:rPr>
              <a:t>области</a:t>
            </a:r>
            <a:r>
              <a:rPr lang="ru-RU" spc="-25" dirty="0">
                <a:cs typeface="Microsoft Sans Serif"/>
              </a:rPr>
              <a:t> </a:t>
            </a:r>
            <a:r>
              <a:rPr lang="ru-RU" spc="-40" dirty="0">
                <a:cs typeface="Microsoft Sans Serif"/>
              </a:rPr>
              <a:t>«Технология»</a:t>
            </a:r>
            <a:r>
              <a:rPr lang="ru-RU" spc="-35" dirty="0">
                <a:cs typeface="Microsoft Sans Serif"/>
              </a:rPr>
              <a:t> </a:t>
            </a:r>
            <a:r>
              <a:rPr lang="ru-RU" spc="-45" dirty="0">
                <a:cs typeface="Microsoft Sans Serif"/>
              </a:rPr>
              <a:t>связаны</a:t>
            </a:r>
            <a:r>
              <a:rPr lang="ru-RU" spc="-40" dirty="0">
                <a:cs typeface="Microsoft Sans Serif"/>
              </a:rPr>
              <a:t> </a:t>
            </a:r>
            <a:r>
              <a:rPr lang="ru-RU" spc="-5" dirty="0">
                <a:cs typeface="Microsoft Sans Serif"/>
              </a:rPr>
              <a:t>с</a:t>
            </a:r>
            <a:r>
              <a:rPr lang="ru-RU" dirty="0">
                <a:cs typeface="Microsoft Sans Serif"/>
              </a:rPr>
              <a:t> </a:t>
            </a:r>
            <a:r>
              <a:rPr lang="ru-RU" spc="-45" dirty="0">
                <a:cs typeface="Microsoft Sans Serif"/>
              </a:rPr>
              <a:t>исследовательской</a:t>
            </a:r>
            <a:r>
              <a:rPr lang="ru-RU" spc="-40" dirty="0">
                <a:cs typeface="Microsoft Sans Serif"/>
              </a:rPr>
              <a:t> </a:t>
            </a:r>
            <a:r>
              <a:rPr lang="ru-RU" spc="-30" dirty="0">
                <a:cs typeface="Microsoft Sans Serif"/>
              </a:rPr>
              <a:t>деятельностью</a:t>
            </a:r>
            <a:r>
              <a:rPr lang="ru-RU" spc="434" dirty="0">
                <a:cs typeface="Microsoft Sans Serif"/>
              </a:rPr>
              <a:t> </a:t>
            </a:r>
            <a:r>
              <a:rPr lang="ru-RU" spc="-10" dirty="0">
                <a:cs typeface="Microsoft Sans Serif"/>
              </a:rPr>
              <a:t>и </a:t>
            </a:r>
            <a:r>
              <a:rPr lang="ru-RU" spc="-5" dirty="0">
                <a:cs typeface="Microsoft Sans Serif"/>
              </a:rPr>
              <a:t> </a:t>
            </a:r>
            <a:r>
              <a:rPr lang="ru-RU" spc="-30" dirty="0">
                <a:cs typeface="Microsoft Sans Serif"/>
              </a:rPr>
              <a:t>систематическим</a:t>
            </a:r>
            <a:r>
              <a:rPr lang="ru-RU" spc="-250" dirty="0">
                <a:cs typeface="Microsoft Sans Serif"/>
              </a:rPr>
              <a:t> </a:t>
            </a:r>
            <a:r>
              <a:rPr lang="ru-RU" spc="-30" dirty="0">
                <a:cs typeface="Microsoft Sans Serif"/>
              </a:rPr>
              <a:t>использованием</a:t>
            </a:r>
            <a:r>
              <a:rPr lang="ru-RU" spc="-250" dirty="0">
                <a:cs typeface="Microsoft Sans Serif"/>
              </a:rPr>
              <a:t> </a:t>
            </a:r>
            <a:r>
              <a:rPr lang="ru-RU" spc="-30" dirty="0">
                <a:cs typeface="Microsoft Sans Serif"/>
              </a:rPr>
              <a:t>фундаментального</a:t>
            </a:r>
            <a:r>
              <a:rPr lang="ru-RU" spc="-170" dirty="0">
                <a:cs typeface="Microsoft Sans Serif"/>
              </a:rPr>
              <a:t> </a:t>
            </a:r>
            <a:r>
              <a:rPr lang="ru-RU" spc="-35" dirty="0">
                <a:cs typeface="Microsoft Sans Serif"/>
              </a:rPr>
              <a:t>знания.</a:t>
            </a:r>
            <a:endParaRPr lang="ru-RU" dirty="0">
              <a:cs typeface="Microsoft Sans Serif"/>
            </a:endParaRPr>
          </a:p>
        </p:txBody>
      </p:sp>
      <p:pic>
        <p:nvPicPr>
          <p:cNvPr id="9" name="object 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7056182" y="457200"/>
            <a:ext cx="2508504" cy="1411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5774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489519"/>
            <a:ext cx="5552497" cy="78483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12700">
              <a:lnSpc>
                <a:spcPts val="2720"/>
              </a:lnSpc>
              <a:spcBef>
                <a:spcPts val="105"/>
              </a:spcBef>
            </a:pPr>
            <a:r>
              <a:rPr lang="ru-RU" sz="2400" b="1" dirty="0">
                <a:solidFill>
                  <a:srgbClr val="006FC0"/>
                </a:solidFill>
              </a:rPr>
              <a:t>Концепция</a:t>
            </a:r>
            <a:r>
              <a:rPr lang="ru-RU" sz="2400" b="1" spc="-10" dirty="0">
                <a:solidFill>
                  <a:srgbClr val="006FC0"/>
                </a:solidFill>
              </a:rPr>
              <a:t> </a:t>
            </a:r>
            <a:r>
              <a:rPr lang="ru-RU" sz="2400" b="1" spc="-5" dirty="0">
                <a:solidFill>
                  <a:srgbClr val="006FC0"/>
                </a:solidFill>
              </a:rPr>
              <a:t>преподавания </a:t>
            </a:r>
            <a:r>
              <a:rPr lang="ru-RU" sz="2400" b="1" spc="-10" dirty="0">
                <a:solidFill>
                  <a:srgbClr val="006FC0"/>
                </a:solidFill>
              </a:rPr>
              <a:t>учебного</a:t>
            </a:r>
            <a:endParaRPr lang="ru-RU" sz="2400" b="1" dirty="0"/>
          </a:p>
          <a:p>
            <a:pPr marL="12700">
              <a:lnSpc>
                <a:spcPts val="2720"/>
              </a:lnSpc>
            </a:pPr>
            <a:r>
              <a:rPr lang="ru-RU" sz="2400" b="1" spc="-5" dirty="0">
                <a:solidFill>
                  <a:srgbClr val="006FC0"/>
                </a:solidFill>
              </a:rPr>
              <a:t>предмета</a:t>
            </a:r>
            <a:r>
              <a:rPr lang="ru-RU" sz="2400" b="1" spc="-45" dirty="0">
                <a:solidFill>
                  <a:srgbClr val="006FC0"/>
                </a:solidFill>
              </a:rPr>
              <a:t> </a:t>
            </a:r>
            <a:r>
              <a:rPr lang="ru-RU" sz="2400" b="1" spc="-5" dirty="0">
                <a:solidFill>
                  <a:srgbClr val="006FC0"/>
                </a:solidFill>
              </a:rPr>
              <a:t>«Технология»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68037" y="1460945"/>
            <a:ext cx="11302230" cy="36825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46379" marR="5080" indent="-234315" algn="just">
              <a:lnSpc>
                <a:spcPct val="90100"/>
              </a:lnSpc>
              <a:spcBef>
                <a:spcPts val="340"/>
              </a:spcBef>
            </a:pPr>
            <a:r>
              <a:rPr lang="ru-RU" b="1" dirty="0">
                <a:cs typeface="Arial"/>
              </a:rPr>
              <a:t>Учебный</a:t>
            </a:r>
            <a:r>
              <a:rPr lang="ru-RU" b="1" spc="5" dirty="0">
                <a:cs typeface="Arial"/>
              </a:rPr>
              <a:t> </a:t>
            </a:r>
            <a:r>
              <a:rPr lang="ru-RU" b="1" dirty="0">
                <a:cs typeface="Arial"/>
              </a:rPr>
              <a:t>предмет</a:t>
            </a:r>
            <a:r>
              <a:rPr lang="ru-RU" b="1" spc="5" dirty="0">
                <a:cs typeface="Arial"/>
              </a:rPr>
              <a:t> </a:t>
            </a:r>
            <a:r>
              <a:rPr lang="ru-RU" b="1" spc="-15" dirty="0">
                <a:cs typeface="Arial"/>
              </a:rPr>
              <a:t>«Технология»</a:t>
            </a:r>
            <a:r>
              <a:rPr lang="ru-RU" b="1" spc="-10" dirty="0">
                <a:cs typeface="Arial"/>
              </a:rPr>
              <a:t> </a:t>
            </a:r>
            <a:r>
              <a:rPr lang="ru-RU" b="1" spc="-5" dirty="0">
                <a:cs typeface="Arial"/>
              </a:rPr>
              <a:t>обеспечивает</a:t>
            </a:r>
            <a:r>
              <a:rPr lang="ru-RU" b="1" dirty="0">
                <a:cs typeface="Arial"/>
              </a:rPr>
              <a:t> оперативное</a:t>
            </a:r>
            <a:r>
              <a:rPr lang="ru-RU" b="1" spc="5" dirty="0">
                <a:cs typeface="Arial"/>
              </a:rPr>
              <a:t> </a:t>
            </a:r>
            <a:r>
              <a:rPr lang="ru-RU" b="1" spc="-10" dirty="0">
                <a:cs typeface="Arial"/>
              </a:rPr>
              <a:t>введение</a:t>
            </a:r>
            <a:r>
              <a:rPr lang="ru-RU" b="1" spc="-5" dirty="0">
                <a:cs typeface="Arial"/>
              </a:rPr>
              <a:t> </a:t>
            </a:r>
            <a:r>
              <a:rPr lang="ru-RU" b="1" dirty="0">
                <a:cs typeface="Arial"/>
              </a:rPr>
              <a:t>в</a:t>
            </a:r>
            <a:r>
              <a:rPr lang="ru-RU" b="1" spc="5" dirty="0">
                <a:cs typeface="Arial"/>
              </a:rPr>
              <a:t> </a:t>
            </a:r>
            <a:r>
              <a:rPr lang="ru-RU" b="1" spc="-5" dirty="0">
                <a:cs typeface="Arial"/>
              </a:rPr>
              <a:t>образовательную </a:t>
            </a:r>
            <a:r>
              <a:rPr lang="ru-RU" b="1" dirty="0">
                <a:cs typeface="Arial"/>
              </a:rPr>
              <a:t> </a:t>
            </a:r>
            <a:r>
              <a:rPr lang="ru-RU" b="1" spc="-10" dirty="0">
                <a:cs typeface="Arial"/>
              </a:rPr>
              <a:t>деятельность</a:t>
            </a:r>
            <a:r>
              <a:rPr lang="ru-RU" b="1" spc="-5" dirty="0">
                <a:cs typeface="Arial"/>
              </a:rPr>
              <a:t> содержания,</a:t>
            </a:r>
            <a:r>
              <a:rPr lang="ru-RU" b="1" dirty="0">
                <a:cs typeface="Arial"/>
              </a:rPr>
              <a:t> адекватно</a:t>
            </a:r>
            <a:r>
              <a:rPr lang="ru-RU" b="1" spc="5" dirty="0">
                <a:cs typeface="Arial"/>
              </a:rPr>
              <a:t> </a:t>
            </a:r>
            <a:r>
              <a:rPr lang="ru-RU" b="1" spc="-5" dirty="0">
                <a:cs typeface="Arial"/>
              </a:rPr>
              <a:t>отражающего</a:t>
            </a:r>
            <a:r>
              <a:rPr lang="ru-RU" b="1" dirty="0">
                <a:cs typeface="Arial"/>
              </a:rPr>
              <a:t> </a:t>
            </a:r>
            <a:r>
              <a:rPr lang="ru-RU" b="1" spc="5" dirty="0">
                <a:cs typeface="Arial"/>
              </a:rPr>
              <a:t>смену</a:t>
            </a:r>
            <a:r>
              <a:rPr lang="ru-RU" b="1" spc="10" dirty="0">
                <a:cs typeface="Arial"/>
              </a:rPr>
              <a:t> </a:t>
            </a:r>
            <a:r>
              <a:rPr lang="ru-RU" b="1" spc="-15" dirty="0">
                <a:cs typeface="Arial"/>
              </a:rPr>
              <a:t>жизненных</a:t>
            </a:r>
            <a:r>
              <a:rPr lang="ru-RU" b="1" spc="-10" dirty="0">
                <a:cs typeface="Arial"/>
              </a:rPr>
              <a:t> реалий</a:t>
            </a:r>
            <a:r>
              <a:rPr lang="ru-RU" b="1" spc="-5" dirty="0">
                <a:cs typeface="Arial"/>
              </a:rPr>
              <a:t> </a:t>
            </a:r>
            <a:r>
              <a:rPr lang="ru-RU" b="1" dirty="0">
                <a:cs typeface="Arial"/>
              </a:rPr>
              <a:t>и </a:t>
            </a:r>
            <a:r>
              <a:rPr lang="ru-RU" b="1" spc="5" dirty="0">
                <a:cs typeface="Arial"/>
              </a:rPr>
              <a:t> </a:t>
            </a:r>
            <a:r>
              <a:rPr lang="ru-RU" b="1" spc="-15" dirty="0">
                <a:cs typeface="Arial"/>
              </a:rPr>
              <a:t>формирование</a:t>
            </a:r>
            <a:r>
              <a:rPr lang="ru-RU" b="1" spc="-10" dirty="0">
                <a:cs typeface="Arial"/>
              </a:rPr>
              <a:t> </a:t>
            </a:r>
            <a:r>
              <a:rPr lang="ru-RU" b="1" spc="-15" dirty="0">
                <a:cs typeface="Arial"/>
              </a:rPr>
              <a:t>пространства</a:t>
            </a:r>
            <a:r>
              <a:rPr lang="ru-RU" b="1" spc="-10" dirty="0">
                <a:cs typeface="Arial"/>
              </a:rPr>
              <a:t> </a:t>
            </a:r>
            <a:r>
              <a:rPr lang="ru-RU" b="1" spc="-5" dirty="0">
                <a:cs typeface="Arial"/>
              </a:rPr>
              <a:t>профессиональной</a:t>
            </a:r>
            <a:r>
              <a:rPr lang="ru-RU" b="1" spc="550" dirty="0">
                <a:cs typeface="Arial"/>
              </a:rPr>
              <a:t> </a:t>
            </a:r>
            <a:r>
              <a:rPr lang="ru-RU" b="1" dirty="0">
                <a:cs typeface="Arial"/>
              </a:rPr>
              <a:t>ориентации</a:t>
            </a:r>
            <a:r>
              <a:rPr lang="ru-RU" b="1" spc="560" dirty="0">
                <a:cs typeface="Arial"/>
              </a:rPr>
              <a:t> </a:t>
            </a:r>
            <a:r>
              <a:rPr lang="ru-RU" b="1" dirty="0">
                <a:cs typeface="Arial"/>
              </a:rPr>
              <a:t>и</a:t>
            </a:r>
            <a:r>
              <a:rPr lang="ru-RU" b="1" spc="560" dirty="0">
                <a:cs typeface="Arial"/>
              </a:rPr>
              <a:t> </a:t>
            </a:r>
            <a:r>
              <a:rPr lang="ru-RU" b="1" spc="-5" dirty="0">
                <a:cs typeface="Arial"/>
              </a:rPr>
              <a:t>самоопределения </a:t>
            </a:r>
            <a:r>
              <a:rPr lang="ru-RU" b="1" spc="-545" dirty="0">
                <a:cs typeface="Arial"/>
              </a:rPr>
              <a:t> </a:t>
            </a:r>
            <a:r>
              <a:rPr lang="ru-RU" b="1" spc="-20" dirty="0">
                <a:cs typeface="Arial"/>
              </a:rPr>
              <a:t>личности,</a:t>
            </a:r>
            <a:r>
              <a:rPr lang="ru-RU" b="1" spc="-15" dirty="0">
                <a:cs typeface="Arial"/>
              </a:rPr>
              <a:t> </a:t>
            </a:r>
            <a:r>
              <a:rPr lang="ru-RU" dirty="0">
                <a:cs typeface="Microsoft Sans Serif"/>
              </a:rPr>
              <a:t>в</a:t>
            </a:r>
            <a:r>
              <a:rPr lang="ru-RU" spc="5" dirty="0">
                <a:cs typeface="Microsoft Sans Serif"/>
              </a:rPr>
              <a:t> </a:t>
            </a:r>
            <a:r>
              <a:rPr lang="ru-RU" spc="-30" dirty="0">
                <a:cs typeface="Microsoft Sans Serif"/>
              </a:rPr>
              <a:t>том</a:t>
            </a:r>
            <a:r>
              <a:rPr lang="ru-RU" spc="-25" dirty="0">
                <a:cs typeface="Microsoft Sans Serif"/>
              </a:rPr>
              <a:t> </a:t>
            </a:r>
            <a:r>
              <a:rPr lang="ru-RU" spc="10" dirty="0">
                <a:cs typeface="Microsoft Sans Serif"/>
              </a:rPr>
              <a:t>числе:</a:t>
            </a:r>
            <a:r>
              <a:rPr lang="ru-RU" spc="15" dirty="0">
                <a:cs typeface="Microsoft Sans Serif"/>
              </a:rPr>
              <a:t> </a:t>
            </a:r>
            <a:r>
              <a:rPr lang="ru-RU" spc="-15" dirty="0">
                <a:cs typeface="Microsoft Sans Serif"/>
              </a:rPr>
              <a:t>компьютерное</a:t>
            </a:r>
            <a:r>
              <a:rPr lang="ru-RU" spc="-10" dirty="0">
                <a:cs typeface="Microsoft Sans Serif"/>
              </a:rPr>
              <a:t> черчение,</a:t>
            </a:r>
            <a:r>
              <a:rPr lang="ru-RU" spc="-5" dirty="0">
                <a:cs typeface="Microsoft Sans Serif"/>
              </a:rPr>
              <a:t> промышленный</a:t>
            </a:r>
            <a:r>
              <a:rPr lang="ru-RU" dirty="0">
                <a:cs typeface="Microsoft Sans Serif"/>
              </a:rPr>
              <a:t> </a:t>
            </a:r>
            <a:r>
              <a:rPr lang="ru-RU" spc="-25" dirty="0">
                <a:cs typeface="Microsoft Sans Serif"/>
              </a:rPr>
              <a:t>дизайн;</a:t>
            </a:r>
            <a:r>
              <a:rPr lang="ru-RU" spc="-20" dirty="0">
                <a:cs typeface="Microsoft Sans Serif"/>
              </a:rPr>
              <a:t> </a:t>
            </a:r>
            <a:r>
              <a:rPr lang="ru-RU" spc="-15" dirty="0">
                <a:cs typeface="Microsoft Sans Serif"/>
              </a:rPr>
              <a:t>3D-моделирование, </a:t>
            </a:r>
            <a:r>
              <a:rPr lang="ru-RU" spc="-10" dirty="0">
                <a:cs typeface="Microsoft Sans Serif"/>
              </a:rPr>
              <a:t> </a:t>
            </a:r>
            <a:r>
              <a:rPr lang="ru-RU" spc="-15" dirty="0" err="1">
                <a:cs typeface="Microsoft Sans Serif"/>
              </a:rPr>
              <a:t>прототипирование</a:t>
            </a:r>
            <a:r>
              <a:rPr lang="ru-RU" spc="-15" dirty="0">
                <a:cs typeface="Microsoft Sans Serif"/>
              </a:rPr>
              <a:t>, </a:t>
            </a:r>
            <a:r>
              <a:rPr lang="ru-RU" spc="-30" dirty="0">
                <a:cs typeface="Microsoft Sans Serif"/>
              </a:rPr>
              <a:t>технологии</a:t>
            </a:r>
            <a:r>
              <a:rPr lang="ru-RU" spc="470" dirty="0">
                <a:cs typeface="Microsoft Sans Serif"/>
              </a:rPr>
              <a:t> </a:t>
            </a:r>
            <a:r>
              <a:rPr lang="ru-RU" spc="-15" dirty="0">
                <a:cs typeface="Microsoft Sans Serif"/>
              </a:rPr>
              <a:t>цифрового производства </a:t>
            </a:r>
            <a:r>
              <a:rPr lang="ru-RU" dirty="0">
                <a:cs typeface="Microsoft Sans Serif"/>
              </a:rPr>
              <a:t>в </a:t>
            </a:r>
            <a:r>
              <a:rPr lang="ru-RU" spc="-20" dirty="0">
                <a:cs typeface="Microsoft Sans Serif"/>
              </a:rPr>
              <a:t>области </a:t>
            </a:r>
            <a:r>
              <a:rPr lang="ru-RU" spc="-30" dirty="0">
                <a:cs typeface="Microsoft Sans Serif"/>
              </a:rPr>
              <a:t>обработки</a:t>
            </a:r>
            <a:r>
              <a:rPr lang="ru-RU" spc="470" dirty="0">
                <a:cs typeface="Microsoft Sans Serif"/>
              </a:rPr>
              <a:t> </a:t>
            </a:r>
            <a:r>
              <a:rPr lang="ru-RU" spc="-10" dirty="0">
                <a:cs typeface="Microsoft Sans Serif"/>
              </a:rPr>
              <a:t>материалов (ручной </a:t>
            </a:r>
            <a:r>
              <a:rPr lang="ru-RU" spc="-5" dirty="0">
                <a:cs typeface="Microsoft Sans Serif"/>
              </a:rPr>
              <a:t> </a:t>
            </a:r>
            <a:r>
              <a:rPr lang="ru-RU" dirty="0">
                <a:cs typeface="Microsoft Sans Serif"/>
              </a:rPr>
              <a:t>и</a:t>
            </a:r>
            <a:r>
              <a:rPr lang="ru-RU" spc="5" dirty="0">
                <a:cs typeface="Microsoft Sans Serif"/>
              </a:rPr>
              <a:t> </a:t>
            </a:r>
            <a:r>
              <a:rPr lang="ru-RU" spc="-10" dirty="0">
                <a:cs typeface="Microsoft Sans Serif"/>
              </a:rPr>
              <a:t>станочной,</a:t>
            </a:r>
            <a:r>
              <a:rPr lang="ru-RU" spc="-5" dirty="0">
                <a:cs typeface="Microsoft Sans Serif"/>
              </a:rPr>
              <a:t> </a:t>
            </a:r>
            <a:r>
              <a:rPr lang="ru-RU" dirty="0">
                <a:cs typeface="Microsoft Sans Serif"/>
              </a:rPr>
              <a:t>в</a:t>
            </a:r>
            <a:r>
              <a:rPr lang="ru-RU" spc="5" dirty="0">
                <a:cs typeface="Microsoft Sans Serif"/>
              </a:rPr>
              <a:t> </a:t>
            </a:r>
            <a:r>
              <a:rPr lang="ru-RU" spc="-30" dirty="0">
                <a:cs typeface="Microsoft Sans Serif"/>
              </a:rPr>
              <a:t>том</a:t>
            </a:r>
            <a:r>
              <a:rPr lang="ru-RU" spc="-25" dirty="0">
                <a:cs typeface="Microsoft Sans Serif"/>
              </a:rPr>
              <a:t> </a:t>
            </a:r>
            <a:r>
              <a:rPr lang="ru-RU" spc="15" dirty="0">
                <a:cs typeface="Microsoft Sans Serif"/>
              </a:rPr>
              <a:t>числе</a:t>
            </a:r>
            <a:r>
              <a:rPr lang="ru-RU" spc="20" dirty="0">
                <a:cs typeface="Microsoft Sans Serif"/>
              </a:rPr>
              <a:t> </a:t>
            </a:r>
            <a:r>
              <a:rPr lang="ru-RU" spc="-10" dirty="0">
                <a:cs typeface="Microsoft Sans Serif"/>
              </a:rPr>
              <a:t>станками</a:t>
            </a:r>
            <a:r>
              <a:rPr lang="ru-RU" spc="-5" dirty="0">
                <a:cs typeface="Microsoft Sans Serif"/>
              </a:rPr>
              <a:t> </a:t>
            </a:r>
            <a:r>
              <a:rPr lang="ru-RU" dirty="0">
                <a:cs typeface="Microsoft Sans Serif"/>
              </a:rPr>
              <a:t>с</a:t>
            </a:r>
            <a:r>
              <a:rPr lang="ru-RU" spc="5" dirty="0">
                <a:cs typeface="Microsoft Sans Serif"/>
              </a:rPr>
              <a:t> </a:t>
            </a:r>
            <a:r>
              <a:rPr lang="ru-RU" dirty="0">
                <a:cs typeface="Microsoft Sans Serif"/>
              </a:rPr>
              <a:t>числовым</a:t>
            </a:r>
            <a:r>
              <a:rPr lang="ru-RU" spc="5" dirty="0">
                <a:cs typeface="Microsoft Sans Serif"/>
              </a:rPr>
              <a:t> </a:t>
            </a:r>
            <a:r>
              <a:rPr lang="ru-RU" spc="-25" dirty="0">
                <a:cs typeface="Microsoft Sans Serif"/>
              </a:rPr>
              <a:t>программным</a:t>
            </a:r>
            <a:r>
              <a:rPr lang="ru-RU" spc="-20" dirty="0">
                <a:cs typeface="Microsoft Sans Serif"/>
              </a:rPr>
              <a:t> </a:t>
            </a:r>
            <a:r>
              <a:rPr lang="ru-RU" spc="-10" dirty="0">
                <a:cs typeface="Microsoft Sans Serif"/>
              </a:rPr>
              <a:t>управлением</a:t>
            </a:r>
            <a:r>
              <a:rPr lang="ru-RU" spc="-5" dirty="0">
                <a:cs typeface="Microsoft Sans Serif"/>
              </a:rPr>
              <a:t> </a:t>
            </a:r>
            <a:r>
              <a:rPr lang="ru-RU" dirty="0">
                <a:cs typeface="Microsoft Sans Serif"/>
              </a:rPr>
              <a:t>и</a:t>
            </a:r>
            <a:r>
              <a:rPr lang="ru-RU" spc="5" dirty="0">
                <a:cs typeface="Microsoft Sans Serif"/>
              </a:rPr>
              <a:t> </a:t>
            </a:r>
            <a:r>
              <a:rPr lang="ru-RU" spc="-15" dirty="0">
                <a:cs typeface="Microsoft Sans Serif"/>
              </a:rPr>
              <a:t>лазерной </a:t>
            </a:r>
            <a:r>
              <a:rPr lang="ru-RU" spc="-10" dirty="0">
                <a:cs typeface="Microsoft Sans Serif"/>
              </a:rPr>
              <a:t> </a:t>
            </a:r>
            <a:r>
              <a:rPr lang="ru-RU" spc="-20" dirty="0">
                <a:cs typeface="Microsoft Sans Serif"/>
              </a:rPr>
              <a:t>обработкой), </a:t>
            </a:r>
            <a:r>
              <a:rPr lang="ru-RU" dirty="0">
                <a:cs typeface="Microsoft Sans Serif"/>
              </a:rPr>
              <a:t>аддитивные </a:t>
            </a:r>
            <a:r>
              <a:rPr lang="ru-RU" spc="-20" dirty="0">
                <a:cs typeface="Microsoft Sans Serif"/>
              </a:rPr>
              <a:t>технологии; </a:t>
            </a:r>
            <a:r>
              <a:rPr lang="ru-RU" spc="-20" dirty="0" err="1">
                <a:cs typeface="Microsoft Sans Serif"/>
              </a:rPr>
              <a:t>нанотехнологии</a:t>
            </a:r>
            <a:r>
              <a:rPr lang="ru-RU" spc="-20" dirty="0">
                <a:cs typeface="Microsoft Sans Serif"/>
              </a:rPr>
              <a:t>; </a:t>
            </a:r>
            <a:r>
              <a:rPr lang="ru-RU" spc="-25" dirty="0">
                <a:cs typeface="Microsoft Sans Serif"/>
              </a:rPr>
              <a:t>робототехника </a:t>
            </a:r>
            <a:r>
              <a:rPr lang="ru-RU" dirty="0">
                <a:cs typeface="Microsoft Sans Serif"/>
              </a:rPr>
              <a:t>и </a:t>
            </a:r>
            <a:r>
              <a:rPr lang="ru-RU" spc="-5" dirty="0">
                <a:cs typeface="Microsoft Sans Serif"/>
              </a:rPr>
              <a:t>системы </a:t>
            </a:r>
            <a:r>
              <a:rPr lang="ru-RU" spc="-30" dirty="0">
                <a:cs typeface="Microsoft Sans Serif"/>
              </a:rPr>
              <a:t>автоматического </a:t>
            </a:r>
            <a:r>
              <a:rPr lang="ru-RU" spc="-25" dirty="0">
                <a:cs typeface="Microsoft Sans Serif"/>
              </a:rPr>
              <a:t> </a:t>
            </a:r>
            <a:r>
              <a:rPr lang="ru-RU" spc="-5" dirty="0">
                <a:cs typeface="Microsoft Sans Serif"/>
              </a:rPr>
              <a:t>управления;</a:t>
            </a:r>
            <a:r>
              <a:rPr lang="ru-RU" dirty="0">
                <a:cs typeface="Microsoft Sans Serif"/>
              </a:rPr>
              <a:t> </a:t>
            </a:r>
            <a:r>
              <a:rPr lang="ru-RU" spc="-30" dirty="0">
                <a:cs typeface="Microsoft Sans Serif"/>
              </a:rPr>
              <a:t>технологии</a:t>
            </a:r>
            <a:r>
              <a:rPr lang="ru-RU" spc="-25" dirty="0">
                <a:cs typeface="Microsoft Sans Serif"/>
              </a:rPr>
              <a:t> </a:t>
            </a:r>
            <a:r>
              <a:rPr lang="ru-RU" spc="-30" dirty="0">
                <a:cs typeface="Microsoft Sans Serif"/>
              </a:rPr>
              <a:t>электротехники,</a:t>
            </a:r>
            <a:r>
              <a:rPr lang="ru-RU" spc="-25" dirty="0">
                <a:cs typeface="Microsoft Sans Serif"/>
              </a:rPr>
              <a:t> электроники</a:t>
            </a:r>
            <a:r>
              <a:rPr lang="ru-RU" spc="-20" dirty="0">
                <a:cs typeface="Microsoft Sans Serif"/>
              </a:rPr>
              <a:t> </a:t>
            </a:r>
            <a:r>
              <a:rPr lang="ru-RU" dirty="0">
                <a:cs typeface="Microsoft Sans Serif"/>
              </a:rPr>
              <a:t>и</a:t>
            </a:r>
            <a:r>
              <a:rPr lang="ru-RU" spc="5" dirty="0">
                <a:cs typeface="Microsoft Sans Serif"/>
              </a:rPr>
              <a:t> </a:t>
            </a:r>
            <a:r>
              <a:rPr lang="ru-RU" spc="-25" dirty="0">
                <a:cs typeface="Microsoft Sans Serif"/>
              </a:rPr>
              <a:t>электроэнергетики;</a:t>
            </a:r>
            <a:r>
              <a:rPr lang="ru-RU" spc="-20" dirty="0">
                <a:cs typeface="Microsoft Sans Serif"/>
              </a:rPr>
              <a:t> </a:t>
            </a:r>
            <a:r>
              <a:rPr lang="ru-RU" spc="-10" dirty="0">
                <a:cs typeface="Microsoft Sans Serif"/>
              </a:rPr>
              <a:t>строительство; </a:t>
            </a:r>
            <a:r>
              <a:rPr lang="ru-RU" spc="-5" dirty="0">
                <a:cs typeface="Microsoft Sans Serif"/>
              </a:rPr>
              <a:t> </a:t>
            </a:r>
            <a:r>
              <a:rPr lang="ru-RU" spc="-10" dirty="0">
                <a:cs typeface="Microsoft Sans Serif"/>
              </a:rPr>
              <a:t>транспорт;</a:t>
            </a:r>
            <a:r>
              <a:rPr lang="ru-RU" spc="-5" dirty="0">
                <a:cs typeface="Microsoft Sans Serif"/>
              </a:rPr>
              <a:t> </a:t>
            </a:r>
            <a:r>
              <a:rPr lang="ru-RU" spc="-10" dirty="0" err="1">
                <a:cs typeface="Microsoft Sans Serif"/>
              </a:rPr>
              <a:t>агро</a:t>
            </a:r>
            <a:r>
              <a:rPr lang="ru-RU" spc="-10" dirty="0">
                <a:cs typeface="Microsoft Sans Serif"/>
              </a:rPr>
              <a:t>-</a:t>
            </a:r>
            <a:r>
              <a:rPr lang="ru-RU" spc="-5" dirty="0">
                <a:cs typeface="Microsoft Sans Serif"/>
              </a:rPr>
              <a:t> </a:t>
            </a:r>
            <a:r>
              <a:rPr lang="ru-RU" dirty="0">
                <a:cs typeface="Microsoft Sans Serif"/>
              </a:rPr>
              <a:t>и</a:t>
            </a:r>
            <a:r>
              <a:rPr lang="ru-RU" spc="5" dirty="0">
                <a:cs typeface="Microsoft Sans Serif"/>
              </a:rPr>
              <a:t> </a:t>
            </a:r>
            <a:r>
              <a:rPr lang="ru-RU" spc="-25" dirty="0">
                <a:cs typeface="Microsoft Sans Serif"/>
              </a:rPr>
              <a:t>биотехнологии;</a:t>
            </a:r>
            <a:r>
              <a:rPr lang="ru-RU" spc="-20" dirty="0">
                <a:cs typeface="Microsoft Sans Serif"/>
              </a:rPr>
              <a:t> </a:t>
            </a:r>
            <a:r>
              <a:rPr lang="ru-RU" spc="-15" dirty="0">
                <a:cs typeface="Microsoft Sans Serif"/>
              </a:rPr>
              <a:t>обработка</a:t>
            </a:r>
            <a:r>
              <a:rPr lang="ru-RU" spc="-10" dirty="0">
                <a:cs typeface="Microsoft Sans Serif"/>
              </a:rPr>
              <a:t> </a:t>
            </a:r>
            <a:r>
              <a:rPr lang="ru-RU" spc="5" dirty="0">
                <a:cs typeface="Microsoft Sans Serif"/>
              </a:rPr>
              <a:t>пищевых</a:t>
            </a:r>
            <a:r>
              <a:rPr lang="ru-RU" spc="10" dirty="0">
                <a:cs typeface="Microsoft Sans Serif"/>
              </a:rPr>
              <a:t> </a:t>
            </a:r>
            <a:r>
              <a:rPr lang="ru-RU" spc="-20" dirty="0">
                <a:cs typeface="Microsoft Sans Serif"/>
              </a:rPr>
              <a:t>продуктов;</a:t>
            </a:r>
            <a:r>
              <a:rPr lang="ru-RU" spc="-15" dirty="0">
                <a:cs typeface="Microsoft Sans Serif"/>
              </a:rPr>
              <a:t> технологии</a:t>
            </a:r>
            <a:r>
              <a:rPr lang="ru-RU" spc="-10" dirty="0">
                <a:cs typeface="Microsoft Sans Serif"/>
              </a:rPr>
              <a:t> </a:t>
            </a:r>
            <a:r>
              <a:rPr lang="ru-RU" spc="-40" dirty="0">
                <a:cs typeface="Microsoft Sans Serif"/>
              </a:rPr>
              <a:t>умного</a:t>
            </a:r>
            <a:r>
              <a:rPr lang="ru-RU" spc="-35" dirty="0">
                <a:cs typeface="Microsoft Sans Serif"/>
              </a:rPr>
              <a:t> </a:t>
            </a:r>
            <a:r>
              <a:rPr lang="ru-RU" spc="-10" dirty="0">
                <a:cs typeface="Microsoft Sans Serif"/>
              </a:rPr>
              <a:t>дома</a:t>
            </a:r>
            <a:r>
              <a:rPr lang="ru-RU" spc="-5" dirty="0">
                <a:cs typeface="Microsoft Sans Serif"/>
              </a:rPr>
              <a:t> </a:t>
            </a:r>
            <a:r>
              <a:rPr lang="ru-RU" dirty="0">
                <a:cs typeface="Microsoft Sans Serif"/>
              </a:rPr>
              <a:t>и </a:t>
            </a:r>
            <a:r>
              <a:rPr lang="ru-RU" spc="5" dirty="0">
                <a:cs typeface="Microsoft Sans Serif"/>
              </a:rPr>
              <a:t> </a:t>
            </a:r>
            <a:r>
              <a:rPr lang="ru-RU" spc="-15" dirty="0">
                <a:cs typeface="Microsoft Sans Serif"/>
              </a:rPr>
              <a:t>интернета</a:t>
            </a:r>
            <a:r>
              <a:rPr lang="ru-RU" spc="-60" dirty="0">
                <a:cs typeface="Microsoft Sans Serif"/>
              </a:rPr>
              <a:t> </a:t>
            </a:r>
            <a:r>
              <a:rPr lang="ru-RU" dirty="0">
                <a:cs typeface="Microsoft Sans Serif"/>
              </a:rPr>
              <a:t>вещей,</a:t>
            </a:r>
            <a:r>
              <a:rPr lang="ru-RU" spc="-50" dirty="0">
                <a:cs typeface="Microsoft Sans Serif"/>
              </a:rPr>
              <a:t> </a:t>
            </a:r>
            <a:r>
              <a:rPr lang="ru-RU" spc="-5" dirty="0">
                <a:cs typeface="Microsoft Sans Serif"/>
              </a:rPr>
              <a:t>СМИ,</a:t>
            </a:r>
            <a:r>
              <a:rPr lang="ru-RU" spc="-50" dirty="0">
                <a:cs typeface="Microsoft Sans Serif"/>
              </a:rPr>
              <a:t> </a:t>
            </a:r>
            <a:r>
              <a:rPr lang="ru-RU" spc="-15" dirty="0">
                <a:cs typeface="Microsoft Sans Serif"/>
              </a:rPr>
              <a:t>реклама,</a:t>
            </a:r>
            <a:r>
              <a:rPr lang="ru-RU" spc="25" dirty="0">
                <a:cs typeface="Microsoft Sans Serif"/>
              </a:rPr>
              <a:t> </a:t>
            </a:r>
            <a:r>
              <a:rPr lang="ru-RU" spc="-60" dirty="0">
                <a:cs typeface="Microsoft Sans Serif"/>
              </a:rPr>
              <a:t>маркетинг.</a:t>
            </a:r>
            <a:endParaRPr lang="ru-RU" dirty="0">
              <a:cs typeface="Microsoft Sans Serif"/>
            </a:endParaRPr>
          </a:p>
          <a:p>
            <a:pPr marL="246379" marR="5715" indent="-234315" algn="just">
              <a:lnSpc>
                <a:spcPts val="2160"/>
              </a:lnSpc>
              <a:spcBef>
                <a:spcPts val="1710"/>
              </a:spcBef>
            </a:pPr>
            <a:r>
              <a:rPr lang="ru-RU" b="1" spc="-5" dirty="0">
                <a:cs typeface="Arial"/>
              </a:rPr>
              <a:t>Целесообразно</a:t>
            </a:r>
            <a:r>
              <a:rPr lang="ru-RU" b="1" dirty="0">
                <a:cs typeface="Arial"/>
              </a:rPr>
              <a:t> </a:t>
            </a:r>
            <a:r>
              <a:rPr lang="ru-RU" b="1" spc="-10" dirty="0">
                <a:cs typeface="Arial"/>
              </a:rPr>
              <a:t>интегрировать</a:t>
            </a:r>
            <a:r>
              <a:rPr lang="ru-RU" b="1" spc="-5" dirty="0">
                <a:cs typeface="Arial"/>
              </a:rPr>
              <a:t> </a:t>
            </a:r>
            <a:r>
              <a:rPr lang="ru-RU" b="1" spc="20" dirty="0">
                <a:cs typeface="Arial"/>
              </a:rPr>
              <a:t>ИКТ</a:t>
            </a:r>
            <a:r>
              <a:rPr lang="ru-RU" b="1" spc="25" dirty="0">
                <a:cs typeface="Arial"/>
              </a:rPr>
              <a:t> </a:t>
            </a:r>
            <a:r>
              <a:rPr lang="ru-RU" b="1" dirty="0">
                <a:cs typeface="Arial"/>
              </a:rPr>
              <a:t>в</a:t>
            </a:r>
            <a:r>
              <a:rPr lang="ru-RU" b="1" spc="5" dirty="0">
                <a:cs typeface="Arial"/>
              </a:rPr>
              <a:t> </a:t>
            </a:r>
            <a:r>
              <a:rPr lang="ru-RU" b="1" spc="-15" dirty="0">
                <a:cs typeface="Arial"/>
              </a:rPr>
              <a:t>учебный</a:t>
            </a:r>
            <a:r>
              <a:rPr lang="ru-RU" b="1" spc="-10" dirty="0">
                <a:cs typeface="Arial"/>
              </a:rPr>
              <a:t> </a:t>
            </a:r>
            <a:r>
              <a:rPr lang="ru-RU" b="1" spc="15" dirty="0">
                <a:cs typeface="Arial"/>
              </a:rPr>
              <a:t>предмет</a:t>
            </a:r>
            <a:r>
              <a:rPr lang="ru-RU" b="1" spc="20" dirty="0">
                <a:cs typeface="Arial"/>
              </a:rPr>
              <a:t> </a:t>
            </a:r>
            <a:r>
              <a:rPr lang="ru-RU" b="1" spc="-15" dirty="0">
                <a:cs typeface="Arial"/>
              </a:rPr>
              <a:t>«Технология»;</a:t>
            </a:r>
            <a:r>
              <a:rPr lang="ru-RU" b="1" spc="-10" dirty="0">
                <a:cs typeface="Arial"/>
              </a:rPr>
              <a:t> </a:t>
            </a:r>
            <a:r>
              <a:rPr lang="ru-RU" dirty="0">
                <a:cs typeface="Microsoft Sans Serif"/>
              </a:rPr>
              <a:t>при</a:t>
            </a:r>
            <a:r>
              <a:rPr lang="ru-RU" spc="5" dirty="0">
                <a:cs typeface="Microsoft Sans Serif"/>
              </a:rPr>
              <a:t> </a:t>
            </a:r>
            <a:r>
              <a:rPr lang="ru-RU" spc="-30" dirty="0">
                <a:cs typeface="Microsoft Sans Serif"/>
              </a:rPr>
              <a:t>этом</a:t>
            </a:r>
            <a:r>
              <a:rPr lang="ru-RU" spc="-25" dirty="0">
                <a:cs typeface="Microsoft Sans Serif"/>
              </a:rPr>
              <a:t> </a:t>
            </a:r>
            <a:r>
              <a:rPr lang="ru-RU" spc="-20" dirty="0">
                <a:cs typeface="Microsoft Sans Serif"/>
              </a:rPr>
              <a:t>учитель </a:t>
            </a:r>
            <a:r>
              <a:rPr lang="ru-RU" spc="-15" dirty="0">
                <a:cs typeface="Microsoft Sans Serif"/>
              </a:rPr>
              <a:t> </a:t>
            </a:r>
            <a:r>
              <a:rPr lang="ru-RU" spc="-25" dirty="0">
                <a:cs typeface="Microsoft Sans Serif"/>
              </a:rPr>
              <a:t>информатики</a:t>
            </a:r>
            <a:r>
              <a:rPr lang="ru-RU" spc="170" dirty="0">
                <a:cs typeface="Microsoft Sans Serif"/>
              </a:rPr>
              <a:t> </a:t>
            </a:r>
            <a:r>
              <a:rPr lang="ru-RU" spc="-55" dirty="0">
                <a:cs typeface="Microsoft Sans Serif"/>
              </a:rPr>
              <a:t>может</a:t>
            </a:r>
            <a:r>
              <a:rPr lang="ru-RU" spc="165" dirty="0">
                <a:cs typeface="Microsoft Sans Serif"/>
              </a:rPr>
              <a:t> </a:t>
            </a:r>
            <a:r>
              <a:rPr lang="ru-RU" spc="-20" dirty="0">
                <a:cs typeface="Microsoft Sans Serif"/>
              </a:rPr>
              <a:t>обеспечивать</a:t>
            </a:r>
            <a:r>
              <a:rPr lang="ru-RU" spc="229" dirty="0">
                <a:cs typeface="Microsoft Sans Serif"/>
              </a:rPr>
              <a:t> </a:t>
            </a:r>
            <a:r>
              <a:rPr lang="ru-RU" spc="-10" dirty="0">
                <a:cs typeface="Microsoft Sans Serif"/>
              </a:rPr>
              <a:t>преподавание</a:t>
            </a:r>
            <a:r>
              <a:rPr lang="ru-RU" spc="160" dirty="0">
                <a:cs typeface="Microsoft Sans Serif"/>
              </a:rPr>
              <a:t> </a:t>
            </a:r>
            <a:r>
              <a:rPr lang="ru-RU" spc="-25" dirty="0">
                <a:cs typeface="Microsoft Sans Serif"/>
              </a:rPr>
              <a:t>информатики</a:t>
            </a:r>
            <a:r>
              <a:rPr lang="ru-RU" spc="170" dirty="0">
                <a:cs typeface="Microsoft Sans Serif"/>
              </a:rPr>
              <a:t> </a:t>
            </a:r>
            <a:r>
              <a:rPr lang="ru-RU" dirty="0">
                <a:cs typeface="Microsoft Sans Serif"/>
              </a:rPr>
              <a:t>в</a:t>
            </a:r>
            <a:r>
              <a:rPr lang="ru-RU" spc="125" dirty="0">
                <a:cs typeface="Microsoft Sans Serif"/>
              </a:rPr>
              <a:t> </a:t>
            </a:r>
            <a:r>
              <a:rPr lang="ru-RU" spc="-15" dirty="0">
                <a:cs typeface="Microsoft Sans Serif"/>
              </a:rPr>
              <a:t>рамках</a:t>
            </a:r>
            <a:r>
              <a:rPr lang="ru-RU" spc="45" dirty="0">
                <a:cs typeface="Microsoft Sans Serif"/>
              </a:rPr>
              <a:t> </a:t>
            </a:r>
            <a:r>
              <a:rPr lang="ru-RU" spc="-15" dirty="0">
                <a:cs typeface="Microsoft Sans Serif"/>
              </a:rPr>
              <a:t>предметной</a:t>
            </a:r>
            <a:r>
              <a:rPr lang="ru-RU" spc="160" dirty="0">
                <a:cs typeface="Microsoft Sans Serif"/>
              </a:rPr>
              <a:t> </a:t>
            </a:r>
            <a:r>
              <a:rPr lang="ru-RU" spc="-5" dirty="0">
                <a:cs typeface="Microsoft Sans Serif"/>
              </a:rPr>
              <a:t>области</a:t>
            </a:r>
            <a:endParaRPr lang="ru-RU" dirty="0">
              <a:cs typeface="Microsoft Sans Serif"/>
            </a:endParaRPr>
          </a:p>
          <a:p>
            <a:pPr marL="246379" marR="6350" algn="just">
              <a:lnSpc>
                <a:spcPts val="2160"/>
              </a:lnSpc>
              <a:spcBef>
                <a:spcPts val="5"/>
              </a:spcBef>
            </a:pPr>
            <a:r>
              <a:rPr lang="ru-RU" spc="-30" dirty="0">
                <a:cs typeface="Microsoft Sans Serif"/>
              </a:rPr>
              <a:t>«Математика</a:t>
            </a:r>
            <a:r>
              <a:rPr lang="ru-RU" spc="-25" dirty="0">
                <a:cs typeface="Microsoft Sans Serif"/>
              </a:rPr>
              <a:t> </a:t>
            </a:r>
            <a:r>
              <a:rPr lang="ru-RU" dirty="0">
                <a:cs typeface="Microsoft Sans Serif"/>
              </a:rPr>
              <a:t>и</a:t>
            </a:r>
            <a:r>
              <a:rPr lang="ru-RU" spc="5" dirty="0">
                <a:cs typeface="Microsoft Sans Serif"/>
              </a:rPr>
              <a:t> </a:t>
            </a:r>
            <a:r>
              <a:rPr lang="ru-RU" spc="-15" dirty="0">
                <a:cs typeface="Microsoft Sans Serif"/>
              </a:rPr>
              <a:t>информатика»</a:t>
            </a:r>
            <a:r>
              <a:rPr lang="ru-RU" spc="-10" dirty="0">
                <a:cs typeface="Microsoft Sans Serif"/>
              </a:rPr>
              <a:t> </a:t>
            </a:r>
            <a:r>
              <a:rPr lang="ru-RU" dirty="0">
                <a:cs typeface="Microsoft Sans Serif"/>
              </a:rPr>
              <a:t>и</a:t>
            </a:r>
            <a:r>
              <a:rPr lang="ru-RU" spc="5" dirty="0">
                <a:cs typeface="Microsoft Sans Serif"/>
              </a:rPr>
              <a:t> </a:t>
            </a:r>
            <a:r>
              <a:rPr lang="ru-RU" spc="-15" dirty="0">
                <a:cs typeface="Microsoft Sans Serif"/>
              </a:rPr>
              <a:t>преподавание</a:t>
            </a:r>
            <a:r>
              <a:rPr lang="ru-RU" spc="-10" dirty="0">
                <a:cs typeface="Microsoft Sans Serif"/>
              </a:rPr>
              <a:t> </a:t>
            </a:r>
            <a:r>
              <a:rPr lang="ru-RU" spc="-75" dirty="0">
                <a:cs typeface="Microsoft Sans Serif"/>
              </a:rPr>
              <a:t>ИКТ</a:t>
            </a:r>
            <a:r>
              <a:rPr lang="ru-RU" spc="-70" dirty="0">
                <a:cs typeface="Microsoft Sans Serif"/>
              </a:rPr>
              <a:t> </a:t>
            </a:r>
            <a:r>
              <a:rPr lang="ru-RU" dirty="0">
                <a:cs typeface="Microsoft Sans Serif"/>
              </a:rPr>
              <a:t>в</a:t>
            </a:r>
            <a:r>
              <a:rPr lang="ru-RU" spc="5" dirty="0">
                <a:cs typeface="Microsoft Sans Serif"/>
              </a:rPr>
              <a:t> </a:t>
            </a:r>
            <a:r>
              <a:rPr lang="ru-RU" spc="-20" dirty="0">
                <a:cs typeface="Microsoft Sans Serif"/>
              </a:rPr>
              <a:t>предметной</a:t>
            </a:r>
            <a:r>
              <a:rPr lang="ru-RU" spc="-15" dirty="0">
                <a:cs typeface="Microsoft Sans Serif"/>
              </a:rPr>
              <a:t> </a:t>
            </a:r>
            <a:r>
              <a:rPr lang="ru-RU" spc="-20" dirty="0">
                <a:cs typeface="Microsoft Sans Serif"/>
              </a:rPr>
              <a:t>области</a:t>
            </a:r>
            <a:r>
              <a:rPr lang="ru-RU" spc="-15" dirty="0">
                <a:cs typeface="Microsoft Sans Serif"/>
              </a:rPr>
              <a:t> </a:t>
            </a:r>
            <a:r>
              <a:rPr lang="ru-RU" spc="-20" dirty="0">
                <a:cs typeface="Microsoft Sans Serif"/>
              </a:rPr>
              <a:t>«Технология»</a:t>
            </a:r>
            <a:r>
              <a:rPr lang="ru-RU" spc="-15" dirty="0">
                <a:cs typeface="Microsoft Sans Serif"/>
              </a:rPr>
              <a:t> </a:t>
            </a:r>
            <a:r>
              <a:rPr lang="ru-RU" spc="-25" dirty="0">
                <a:cs typeface="Microsoft Sans Serif"/>
              </a:rPr>
              <a:t>при </a:t>
            </a:r>
            <a:r>
              <a:rPr lang="ru-RU" spc="-20" dirty="0">
                <a:cs typeface="Microsoft Sans Serif"/>
              </a:rPr>
              <a:t> </a:t>
            </a:r>
            <a:r>
              <a:rPr lang="ru-RU" spc="5" dirty="0">
                <a:cs typeface="Microsoft Sans Serif"/>
              </a:rPr>
              <a:t>расширении </a:t>
            </a:r>
            <a:r>
              <a:rPr lang="ru-RU" spc="-20" dirty="0">
                <a:cs typeface="Microsoft Sans Serif"/>
              </a:rPr>
              <a:t>доли </a:t>
            </a:r>
            <a:r>
              <a:rPr lang="ru-RU" spc="-75" dirty="0">
                <a:cs typeface="Microsoft Sans Serif"/>
              </a:rPr>
              <a:t>ИКТ </a:t>
            </a:r>
            <a:r>
              <a:rPr lang="ru-RU" dirty="0">
                <a:cs typeface="Microsoft Sans Serif"/>
              </a:rPr>
              <a:t>в </a:t>
            </a:r>
            <a:r>
              <a:rPr lang="ru-RU" spc="-20" dirty="0">
                <a:cs typeface="Microsoft Sans Serif"/>
              </a:rPr>
              <a:t>технологии </a:t>
            </a:r>
            <a:r>
              <a:rPr lang="ru-RU" dirty="0">
                <a:cs typeface="Microsoft Sans Serif"/>
              </a:rPr>
              <a:t>в </a:t>
            </a:r>
            <a:r>
              <a:rPr lang="ru-RU" spc="-20" dirty="0">
                <a:cs typeface="Microsoft Sans Serif"/>
              </a:rPr>
              <a:t>соответствии </a:t>
            </a:r>
            <a:r>
              <a:rPr lang="ru-RU" dirty="0">
                <a:cs typeface="Microsoft Sans Serif"/>
              </a:rPr>
              <a:t>с </a:t>
            </a:r>
            <a:r>
              <a:rPr lang="ru-RU" spc="-10" dirty="0">
                <a:cs typeface="Microsoft Sans Serif"/>
              </a:rPr>
              <a:t>потребностями </a:t>
            </a:r>
            <a:r>
              <a:rPr lang="ru-RU" spc="-25" dirty="0">
                <a:cs typeface="Microsoft Sans Serif"/>
              </a:rPr>
              <a:t>образовательного </a:t>
            </a:r>
            <a:r>
              <a:rPr lang="ru-RU" dirty="0">
                <a:cs typeface="Microsoft Sans Serif"/>
              </a:rPr>
              <a:t>процесса и </a:t>
            </a:r>
            <a:r>
              <a:rPr lang="ru-RU" spc="5" dirty="0">
                <a:cs typeface="Microsoft Sans Serif"/>
              </a:rPr>
              <a:t> </a:t>
            </a:r>
            <a:r>
              <a:rPr lang="ru-RU" spc="-5" dirty="0">
                <a:cs typeface="Microsoft Sans Serif"/>
              </a:rPr>
              <a:t>интересами</a:t>
            </a:r>
            <a:r>
              <a:rPr lang="ru-RU" spc="-65" dirty="0">
                <a:cs typeface="Microsoft Sans Serif"/>
              </a:rPr>
              <a:t> </a:t>
            </a:r>
            <a:r>
              <a:rPr lang="ru-RU" spc="-15" dirty="0">
                <a:cs typeface="Microsoft Sans Serif"/>
              </a:rPr>
              <a:t>обучающихся.</a:t>
            </a:r>
            <a:endParaRPr lang="ru-RU" dirty="0">
              <a:cs typeface="Microsoft Sans Serif"/>
            </a:endParaRPr>
          </a:p>
        </p:txBody>
      </p:sp>
    </p:spTree>
    <p:extLst>
      <p:ext uri="{BB962C8B-B14F-4D97-AF65-F5344CB8AC3E}">
        <p14:creationId xmlns:p14="http://schemas.microsoft.com/office/powerpoint/2010/main" val="24695774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98800" y="30372"/>
            <a:ext cx="7410509" cy="1227865"/>
          </a:xfrm>
        </p:spPr>
        <p:txBody>
          <a:bodyPr>
            <a:normAutofit/>
          </a:bodyPr>
          <a:lstStyle/>
          <a:p>
            <a:r>
              <a:rPr lang="ru-RU" sz="2133" dirty="0">
                <a:solidFill>
                  <a:srgbClr val="2D2B8D"/>
                </a:solidFill>
              </a:rPr>
              <a:t>НОВЫЙ ФГОС ООО ПО ТЕХНОЛОГИИ</a:t>
            </a:r>
            <a:br>
              <a:rPr lang="ru-RU" sz="2133" dirty="0">
                <a:solidFill>
                  <a:srgbClr val="2D2B8D"/>
                </a:solidFill>
              </a:rPr>
            </a:br>
            <a:r>
              <a:rPr lang="ru-RU" sz="2133" dirty="0">
                <a:solidFill>
                  <a:srgbClr val="2D2B8D"/>
                </a:solidFill>
              </a:rPr>
              <a:t>(УТВЕРЖДЁН 31.05.2021 N 287)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266951" y="1305862"/>
            <a:ext cx="9775098" cy="5552138"/>
          </a:xfrm>
        </p:spPr>
        <p:txBody>
          <a:bodyPr>
            <a:normAutofit fontScale="25000" lnSpcReduction="20000"/>
          </a:bodyPr>
          <a:lstStyle/>
          <a:p>
            <a:pPr marL="0" indent="0" algn="ctr">
              <a:buNone/>
            </a:pPr>
            <a:r>
              <a:rPr lang="ru-RU" sz="6400" dirty="0"/>
              <a:t> </a:t>
            </a:r>
            <a:r>
              <a:rPr lang="ru-RU" sz="6400" b="1" dirty="0"/>
              <a:t>МИНИСТЕРСТВО ПРОСВЕЩЕНИЯ РОССИЙСКОЙ ФЕДЕРАЦИИ</a:t>
            </a:r>
            <a:endParaRPr lang="ru-RU" sz="6400" dirty="0"/>
          </a:p>
          <a:p>
            <a:pPr marL="0" indent="0" algn="ctr">
              <a:buNone/>
            </a:pPr>
            <a:r>
              <a:rPr lang="ru-RU" sz="6400" b="1" dirty="0"/>
              <a:t> ПРИКАЗ от 31 мая 2021 г. N 287 ОБ УТВЕРЖДЕНИИ ФЕДЕРАЛЬНОГО ГОСУДАРСТВЕННОГО ОБРАЗОВАТЕЛЬНОГО СТАНДАРТА ОСНОВНОГО ОБЩЕГО ОБРАЗОВАНИЯ</a:t>
            </a:r>
            <a:endParaRPr lang="ru-RU" sz="6400" dirty="0"/>
          </a:p>
          <a:p>
            <a:pPr marL="0" indent="0">
              <a:buNone/>
            </a:pPr>
            <a:r>
              <a:rPr lang="ru-RU" sz="6400" dirty="0"/>
              <a:t> 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5600" dirty="0"/>
              <a:t>В соответствии с </a:t>
            </a:r>
            <a:r>
              <a:rPr lang="ru-RU" sz="5600" dirty="0">
                <a:solidFill>
                  <a:schemeClr val="tx1"/>
                </a:solidFill>
                <a:hlinkClick r:id="rId3"/>
              </a:rPr>
              <a:t>подпунктом 4.2.30 пункта 4</a:t>
            </a:r>
            <a:r>
              <a:rPr lang="ru-RU" sz="5600" dirty="0"/>
              <a:t> Положения о Министерстве просвещения Российской Федерации, утвержденного постановлением Правительства Российской Федерации от 28 июля 2018 г. N 884 (Собрание законодательства Российской Федерации, 2018, N 32, ст. 5343), и </a:t>
            </a:r>
            <a:r>
              <a:rPr lang="ru-RU" sz="5600" dirty="0">
                <a:hlinkClick r:id="rId4"/>
              </a:rPr>
              <a:t>пунктом 27</a:t>
            </a:r>
            <a:r>
              <a:rPr lang="ru-RU" sz="5600" dirty="0"/>
              <a:t> Правил разработки, утверждения федеральных государственных образовательных стандартов и внесения в них изменений, утвержденных постановлением Правительства Российской Федерации от 12 апреля 2019 г. N 434 (Собрание законодательства Российской Федерации, 2019, N 16, ст. 1942), приказываю: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5600" dirty="0"/>
              <a:t>1. Утвердить прилагаемый федеральный государственный образовательный стандарт основного общего образования (далее - ФГОС).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5600" dirty="0"/>
              <a:t>2. Установить, что: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5600" dirty="0"/>
              <a:t>образовательная организация вправе осуществлять в соответствии с ФГОС обучение: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5600" dirty="0"/>
              <a:t>лиц, зачисленных до вступления в силу настоящего приказа, - с их согласия;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5600" dirty="0"/>
              <a:t>несовершеннолетних обучающихся, зачисленных до вступления в силу настоящего приказа, с согласия их родителей (законных представителей);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5600" dirty="0"/>
              <a:t>прием на обучение в соответствии с федеральным государственным образовательным </a:t>
            </a:r>
            <a:r>
              <a:rPr lang="ru-RU" sz="5600" dirty="0">
                <a:hlinkClick r:id="rId5"/>
              </a:rPr>
              <a:t>стандартом</a:t>
            </a:r>
            <a:r>
              <a:rPr lang="ru-RU" sz="5600" dirty="0"/>
              <a:t> основного общего образования, утвержденным приказом Министерства образования и науки Российской Федерации от 17 декабря 2010 г. N 1897 (зарегистрирован Министерством юстиции Российской Федерации 1 февраля 2011 г. N 19644), с изменениями, внесенными приказами Министерства образования и науки Российской Федерации от 29 декабря 2014 г. N 1644 (зарегистрирован Министерством юстиции Российской Федерации 6 февраля 2015 г. N 35915), от 31 декабря 2015 г. N 1577 (зарегистрирован Министерством юстиции Российской Федерации 2 февраля 2016 г. N 40937), приказом Министерства просвещения Российской Федерации от 11 декабря 2020 г. N 712 (зарегистрирован Министерством юстиции Российской Федерации 25 декабря 2020 г., регистрационный N 61828), прекращается 1 сентября 2022 года.</a:t>
            </a:r>
          </a:p>
          <a:p>
            <a:pPr marL="0" indent="0">
              <a:buNone/>
            </a:pPr>
            <a:r>
              <a:rPr lang="ru-RU" sz="5600" dirty="0"/>
              <a:t> Министр</a:t>
            </a:r>
          </a:p>
          <a:p>
            <a:pPr marL="0" indent="0" algn="r">
              <a:buNone/>
            </a:pPr>
            <a:r>
              <a:rPr lang="ru-RU" sz="5600" dirty="0"/>
              <a:t>С.С.КРАВЦОВ</a:t>
            </a:r>
          </a:p>
          <a:p>
            <a:pPr marL="0" indent="0" algn="r">
              <a:buNone/>
            </a:pPr>
            <a:endParaRPr lang="ru-RU" sz="6600" dirty="0">
              <a:hlinkClick r:id="rId6"/>
            </a:endParaRPr>
          </a:p>
          <a:p>
            <a:pPr marL="0" indent="0" algn="r">
              <a:buNone/>
            </a:pPr>
            <a:r>
              <a:rPr lang="it-IT" sz="6600" dirty="0">
                <a:hlinkClick r:id="rId6"/>
              </a:rPr>
              <a:t>https://4ege.ru/documents/62425-novye-fgos-2021-goda.html</a:t>
            </a:r>
            <a:endParaRPr lang="ru-RU" sz="6400" dirty="0"/>
          </a:p>
        </p:txBody>
      </p:sp>
    </p:spTree>
    <p:extLst>
      <p:ext uri="{BB962C8B-B14F-4D97-AF65-F5344CB8AC3E}">
        <p14:creationId xmlns:p14="http://schemas.microsoft.com/office/powerpoint/2010/main" val="36067579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dirty="0">
                <a:solidFill>
                  <a:srgbClr val="002060"/>
                </a:solidFill>
              </a:rPr>
              <a:t>Предметные результаты по учебному предмету должны обеспечить:</a:t>
            </a:r>
          </a:p>
        </p:txBody>
      </p:sp>
      <p:pic>
        <p:nvPicPr>
          <p:cNvPr id="14848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3747" y="1355581"/>
            <a:ext cx="5059268" cy="44610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4848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76147" y="1278421"/>
            <a:ext cx="5411429" cy="453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862666" y="489519"/>
            <a:ext cx="6993467" cy="124341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85"/>
              </a:spcBef>
            </a:pPr>
            <a:r>
              <a:rPr lang="ru-RU" sz="2000" b="1" spc="-20" dirty="0">
                <a:solidFill>
                  <a:srgbClr val="FF0000"/>
                </a:solidFill>
                <a:cs typeface="Arial Black"/>
              </a:rPr>
              <a:t>ОБЩАЯ </a:t>
            </a:r>
            <a:r>
              <a:rPr lang="ru-RU" sz="2000" b="1" spc="-10" dirty="0">
                <a:solidFill>
                  <a:srgbClr val="FF0000"/>
                </a:solidFill>
                <a:cs typeface="Arial Black"/>
              </a:rPr>
              <a:t>СТРАТЕГИЯ</a:t>
            </a:r>
            <a:r>
              <a:rPr lang="ru-RU" sz="2000" b="1" spc="-5" dirty="0">
                <a:solidFill>
                  <a:srgbClr val="FF0000"/>
                </a:solidFill>
                <a:cs typeface="Arial Black"/>
              </a:rPr>
              <a:t>:</a:t>
            </a:r>
            <a:endParaRPr lang="ru-RU" sz="2000" b="1" dirty="0">
              <a:cs typeface="Arial Black"/>
            </a:endParaRPr>
          </a:p>
          <a:p>
            <a:pPr marL="12700" marR="5080" algn="ctr">
              <a:lnSpc>
                <a:spcPct val="136900"/>
              </a:lnSpc>
            </a:pPr>
            <a:r>
              <a:rPr lang="ru-RU" sz="2000" b="1" spc="-5" dirty="0">
                <a:solidFill>
                  <a:srgbClr val="FF0000"/>
                </a:solidFill>
                <a:cs typeface="Arial Black"/>
              </a:rPr>
              <a:t>ЗНАНИЯ</a:t>
            </a:r>
            <a:r>
              <a:rPr lang="ru-RU" sz="2000" b="1" spc="-80" dirty="0">
                <a:solidFill>
                  <a:srgbClr val="FF0000"/>
                </a:solidFill>
                <a:cs typeface="Arial Black"/>
              </a:rPr>
              <a:t> </a:t>
            </a:r>
            <a:r>
              <a:rPr lang="ru-RU" sz="2000" b="1" dirty="0">
                <a:solidFill>
                  <a:srgbClr val="FF0000"/>
                </a:solidFill>
                <a:cs typeface="Arial Black"/>
              </a:rPr>
              <a:t>И</a:t>
            </a:r>
            <a:r>
              <a:rPr lang="ru-RU" sz="2000" b="1" spc="-25" dirty="0">
                <a:solidFill>
                  <a:srgbClr val="FF0000"/>
                </a:solidFill>
                <a:cs typeface="Arial Black"/>
              </a:rPr>
              <a:t> </a:t>
            </a:r>
            <a:r>
              <a:rPr lang="ru-RU" sz="2000" b="1" spc="5" dirty="0">
                <a:solidFill>
                  <a:srgbClr val="FF0000"/>
                </a:solidFill>
                <a:cs typeface="Arial Black"/>
              </a:rPr>
              <a:t>УМЕНИЯ</a:t>
            </a:r>
            <a:r>
              <a:rPr lang="ru-RU" sz="2000" b="1" spc="-155" dirty="0">
                <a:solidFill>
                  <a:srgbClr val="FF0000"/>
                </a:solidFill>
                <a:cs typeface="Arial Black"/>
              </a:rPr>
              <a:t> </a:t>
            </a:r>
            <a:r>
              <a:rPr lang="ru-RU" sz="2000" b="1" dirty="0">
                <a:solidFill>
                  <a:srgbClr val="FF0000"/>
                </a:solidFill>
                <a:cs typeface="Arial Black"/>
              </a:rPr>
              <a:t>И</a:t>
            </a:r>
            <a:r>
              <a:rPr lang="ru-RU" sz="2000" b="1" spc="-25" dirty="0">
                <a:solidFill>
                  <a:srgbClr val="FF0000"/>
                </a:solidFill>
                <a:cs typeface="Arial Black"/>
              </a:rPr>
              <a:t> </a:t>
            </a:r>
            <a:r>
              <a:rPr lang="ru-RU" sz="2000" b="1" spc="5" dirty="0">
                <a:solidFill>
                  <a:srgbClr val="FF0000"/>
                </a:solidFill>
                <a:cs typeface="Arial Black"/>
              </a:rPr>
              <a:t>ИХ</a:t>
            </a:r>
            <a:r>
              <a:rPr lang="ru-RU" sz="2000" b="1" spc="-70" dirty="0">
                <a:solidFill>
                  <a:srgbClr val="FF0000"/>
                </a:solidFill>
                <a:cs typeface="Arial Black"/>
              </a:rPr>
              <a:t> </a:t>
            </a:r>
            <a:r>
              <a:rPr lang="ru-RU" sz="2000" b="1" spc="-10" dirty="0">
                <a:solidFill>
                  <a:srgbClr val="FF0000"/>
                </a:solidFill>
                <a:cs typeface="Arial Black"/>
              </a:rPr>
              <a:t>ИСПОЛЬЗОВАНИЕ </a:t>
            </a:r>
            <a:r>
              <a:rPr lang="ru-RU" sz="2000" b="1" spc="-650" dirty="0">
                <a:solidFill>
                  <a:srgbClr val="FF0000"/>
                </a:solidFill>
                <a:cs typeface="Arial Black"/>
              </a:rPr>
              <a:t> </a:t>
            </a:r>
            <a:r>
              <a:rPr lang="ru-RU" sz="2000" b="1" dirty="0">
                <a:solidFill>
                  <a:srgbClr val="FF0000"/>
                </a:solidFill>
                <a:cs typeface="Arial Black"/>
              </a:rPr>
              <a:t>В</a:t>
            </a:r>
            <a:r>
              <a:rPr lang="ru-RU" sz="2000" b="1" spc="-70" dirty="0">
                <a:solidFill>
                  <a:srgbClr val="FF0000"/>
                </a:solidFill>
                <a:cs typeface="Arial Black"/>
              </a:rPr>
              <a:t> </a:t>
            </a:r>
            <a:r>
              <a:rPr lang="ru-RU" sz="2000" b="1" dirty="0">
                <a:solidFill>
                  <a:srgbClr val="FF0000"/>
                </a:solidFill>
                <a:cs typeface="Arial Black"/>
              </a:rPr>
              <a:t>РЕШЕНИИ</a:t>
            </a:r>
            <a:r>
              <a:rPr lang="ru-RU" sz="2000" b="1" spc="-100" dirty="0">
                <a:solidFill>
                  <a:srgbClr val="FF0000"/>
                </a:solidFill>
                <a:cs typeface="Arial Black"/>
              </a:rPr>
              <a:t> </a:t>
            </a:r>
            <a:r>
              <a:rPr lang="ru-RU" sz="2000" b="1" spc="-20" dirty="0">
                <a:solidFill>
                  <a:srgbClr val="FF0000"/>
                </a:solidFill>
                <a:cs typeface="Arial Black"/>
              </a:rPr>
              <a:t>ЗАДАЧ</a:t>
            </a:r>
            <a:endParaRPr lang="ru-RU" sz="2000" b="1" dirty="0">
              <a:cs typeface="Arial Black"/>
            </a:endParaRPr>
          </a:p>
        </p:txBody>
      </p:sp>
      <p:pic>
        <p:nvPicPr>
          <p:cNvPr id="8" name="object 4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9068158" y="237062"/>
            <a:ext cx="2946246" cy="1507067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354667" y="2093766"/>
            <a:ext cx="9584266" cy="43652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ru-RU" b="1" spc="-15" dirty="0">
                <a:solidFill>
                  <a:srgbClr val="006FC0"/>
                </a:solidFill>
                <a:latin typeface="Arial"/>
                <a:cs typeface="Arial"/>
              </a:rPr>
              <a:t>ЗНАНИЕ:</a:t>
            </a:r>
          </a:p>
          <a:p>
            <a:pPr marL="12700">
              <a:lnSpc>
                <a:spcPct val="100000"/>
              </a:lnSpc>
              <a:spcBef>
                <a:spcPts val="100"/>
              </a:spcBef>
            </a:pPr>
            <a:endParaRPr lang="ru-RU" b="1" spc="-15" dirty="0">
              <a:solidFill>
                <a:srgbClr val="006FC0"/>
              </a:solidFill>
              <a:latin typeface="Arial"/>
              <a:cs typeface="Arial"/>
            </a:endParaRPr>
          </a:p>
          <a:p>
            <a:pPr marL="12700" algn="just">
              <a:lnSpc>
                <a:spcPct val="100000"/>
              </a:lnSpc>
              <a:spcBef>
                <a:spcPts val="100"/>
              </a:spcBef>
            </a:pPr>
            <a:r>
              <a:rPr lang="ru-RU" b="1" spc="-15" dirty="0">
                <a:solidFill>
                  <a:srgbClr val="006FC0"/>
                </a:solidFill>
                <a:latin typeface="Arial"/>
                <a:cs typeface="Arial"/>
              </a:rPr>
              <a:t>предметное,</a:t>
            </a:r>
            <a:r>
              <a:rPr lang="ru-RU" b="1" spc="100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spc="-15" dirty="0">
                <a:solidFill>
                  <a:srgbClr val="006FC0"/>
                </a:solidFill>
                <a:latin typeface="Arial"/>
                <a:cs typeface="Arial"/>
              </a:rPr>
              <a:t>или</a:t>
            </a:r>
            <a:r>
              <a:rPr lang="ru-RU" b="1" spc="10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spc="-10" dirty="0">
                <a:solidFill>
                  <a:srgbClr val="006FC0"/>
                </a:solidFill>
                <a:latin typeface="Arial"/>
                <a:cs typeface="Arial"/>
              </a:rPr>
              <a:t>фактографическое </a:t>
            </a:r>
            <a:r>
              <a:rPr lang="ru-RU" b="1" spc="-5" dirty="0">
                <a:solidFill>
                  <a:srgbClr val="006FC0"/>
                </a:solidFill>
                <a:latin typeface="Arial"/>
                <a:cs typeface="Arial"/>
              </a:rPr>
              <a:t>знание,</a:t>
            </a:r>
            <a:r>
              <a:rPr lang="ru-RU" b="1" spc="20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spc="-40" dirty="0">
                <a:solidFill>
                  <a:srgbClr val="006FC0"/>
                </a:solidFill>
                <a:latin typeface="Arial"/>
                <a:cs typeface="Arial"/>
              </a:rPr>
              <a:t>которое</a:t>
            </a:r>
            <a:r>
              <a:rPr lang="ru-RU" b="1" spc="70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dirty="0">
                <a:solidFill>
                  <a:srgbClr val="006FC0"/>
                </a:solidFill>
                <a:latin typeface="Arial"/>
                <a:cs typeface="Arial"/>
              </a:rPr>
              <a:t>складывается</a:t>
            </a:r>
            <a:r>
              <a:rPr lang="ru-RU" b="1" spc="-75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spc="-20" dirty="0">
                <a:solidFill>
                  <a:srgbClr val="006FC0"/>
                </a:solidFill>
                <a:latin typeface="Arial"/>
                <a:cs typeface="Arial"/>
              </a:rPr>
              <a:t>из</a:t>
            </a:r>
            <a:endParaRPr lang="ru-RU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lang="ru-RU" b="1" spc="-5" dirty="0">
                <a:solidFill>
                  <a:srgbClr val="006FC0"/>
                </a:solidFill>
                <a:latin typeface="Arial"/>
                <a:cs typeface="Arial"/>
              </a:rPr>
              <a:t>набора</a:t>
            </a:r>
            <a:r>
              <a:rPr lang="ru-RU" b="1" spc="5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spc="-20" dirty="0">
                <a:solidFill>
                  <a:srgbClr val="006FC0"/>
                </a:solidFill>
                <a:latin typeface="Arial"/>
                <a:cs typeface="Arial"/>
              </a:rPr>
              <a:t>количественных</a:t>
            </a:r>
            <a:r>
              <a:rPr lang="ru-RU" b="1" spc="10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dirty="0">
                <a:solidFill>
                  <a:srgbClr val="006FC0"/>
                </a:solidFill>
                <a:latin typeface="Arial"/>
                <a:cs typeface="Arial"/>
              </a:rPr>
              <a:t>и</a:t>
            </a:r>
            <a:r>
              <a:rPr lang="ru-RU" b="1" spc="30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spc="-15" dirty="0">
                <a:solidFill>
                  <a:srgbClr val="006FC0"/>
                </a:solidFill>
                <a:latin typeface="Arial"/>
                <a:cs typeface="Arial"/>
              </a:rPr>
              <a:t>качественных</a:t>
            </a:r>
            <a:r>
              <a:rPr lang="ru-RU" b="1" spc="10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spc="-15" dirty="0">
                <a:solidFill>
                  <a:srgbClr val="006FC0"/>
                </a:solidFill>
                <a:latin typeface="Arial"/>
                <a:cs typeface="Arial"/>
              </a:rPr>
              <a:t>характеристик</a:t>
            </a:r>
            <a:r>
              <a:rPr lang="ru-RU" b="1" spc="65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spc="-30" dirty="0">
                <a:solidFill>
                  <a:srgbClr val="006FC0"/>
                </a:solidFill>
                <a:latin typeface="Arial"/>
                <a:cs typeface="Arial"/>
              </a:rPr>
              <a:t>изучаемых</a:t>
            </a:r>
            <a:r>
              <a:rPr lang="ru-RU" b="1" spc="175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spc="-15" dirty="0">
                <a:solidFill>
                  <a:srgbClr val="006FC0"/>
                </a:solidFill>
                <a:latin typeface="Arial"/>
                <a:cs typeface="Arial"/>
              </a:rPr>
              <a:t>объектов;</a:t>
            </a:r>
            <a:endParaRPr lang="ru-RU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lang="ru-RU" sz="2000" dirty="0">
              <a:latin typeface="Arial"/>
              <a:cs typeface="Arial"/>
            </a:endParaRPr>
          </a:p>
          <a:p>
            <a:pPr marL="12700" marR="1219200">
              <a:lnSpc>
                <a:spcPct val="100000"/>
              </a:lnSpc>
            </a:pPr>
            <a:r>
              <a:rPr lang="ru-RU" spc="-20" dirty="0">
                <a:solidFill>
                  <a:srgbClr val="006FC0"/>
                </a:solidFill>
                <a:latin typeface="Microsoft Sans Serif"/>
                <a:cs typeface="Microsoft Sans Serif"/>
              </a:rPr>
              <a:t>-</a:t>
            </a:r>
            <a:r>
              <a:rPr lang="ru-RU" b="1" spc="-20" dirty="0">
                <a:solidFill>
                  <a:srgbClr val="006FC0"/>
                </a:solidFill>
                <a:latin typeface="Arial"/>
                <a:cs typeface="Arial"/>
              </a:rPr>
              <a:t>алгоритмическое </a:t>
            </a:r>
            <a:r>
              <a:rPr lang="ru-RU" b="1" spc="-15" dirty="0">
                <a:solidFill>
                  <a:srgbClr val="006FC0"/>
                </a:solidFill>
                <a:latin typeface="Arial"/>
                <a:cs typeface="Arial"/>
              </a:rPr>
              <a:t>(процедурное)</a:t>
            </a:r>
            <a:r>
              <a:rPr lang="ru-RU" b="1" spc="-10" dirty="0">
                <a:solidFill>
                  <a:srgbClr val="006FC0"/>
                </a:solidFill>
                <a:latin typeface="Arial"/>
                <a:cs typeface="Arial"/>
              </a:rPr>
              <a:t> знание </a:t>
            </a:r>
            <a:r>
              <a:rPr lang="ru-RU" b="1" dirty="0">
                <a:solidFill>
                  <a:srgbClr val="006FC0"/>
                </a:solidFill>
                <a:latin typeface="Arial"/>
                <a:cs typeface="Arial"/>
              </a:rPr>
              <a:t>– </a:t>
            </a:r>
            <a:r>
              <a:rPr lang="ru-RU" b="1" spc="-10" dirty="0" err="1">
                <a:solidFill>
                  <a:srgbClr val="006FC0"/>
                </a:solidFill>
                <a:latin typeface="Arial"/>
                <a:cs typeface="Arial"/>
              </a:rPr>
              <a:t>знание</a:t>
            </a:r>
            <a:r>
              <a:rPr lang="ru-RU" b="1" spc="-10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spc="-30" dirty="0">
                <a:solidFill>
                  <a:srgbClr val="006FC0"/>
                </a:solidFill>
                <a:latin typeface="Arial"/>
                <a:cs typeface="Arial"/>
              </a:rPr>
              <a:t>методов, </a:t>
            </a:r>
            <a:r>
              <a:rPr lang="ru-RU" b="1" spc="-10" dirty="0">
                <a:solidFill>
                  <a:srgbClr val="006FC0"/>
                </a:solidFill>
                <a:latin typeface="Arial"/>
                <a:cs typeface="Arial"/>
              </a:rPr>
              <a:t>способов, </a:t>
            </a:r>
            <a:r>
              <a:rPr lang="ru-RU" b="1" spc="-655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spc="-20" dirty="0">
                <a:solidFill>
                  <a:srgbClr val="006FC0"/>
                </a:solidFill>
                <a:latin typeface="Arial"/>
                <a:cs typeface="Arial"/>
              </a:rPr>
              <a:t>процедур, приводящих </a:t>
            </a:r>
            <a:r>
              <a:rPr lang="ru-RU" b="1" dirty="0">
                <a:solidFill>
                  <a:srgbClr val="006FC0"/>
                </a:solidFill>
                <a:latin typeface="Arial"/>
                <a:cs typeface="Arial"/>
              </a:rPr>
              <a:t>к </a:t>
            </a:r>
            <a:r>
              <a:rPr lang="ru-RU" b="1" spc="-25" dirty="0">
                <a:solidFill>
                  <a:srgbClr val="006FC0"/>
                </a:solidFill>
                <a:latin typeface="Arial"/>
                <a:cs typeface="Arial"/>
              </a:rPr>
              <a:t>конкретному </a:t>
            </a:r>
            <a:r>
              <a:rPr lang="ru-RU" b="1" spc="-45" dirty="0">
                <a:solidFill>
                  <a:srgbClr val="006FC0"/>
                </a:solidFill>
                <a:latin typeface="Arial"/>
                <a:cs typeface="Arial"/>
              </a:rPr>
              <a:t>результату</a:t>
            </a:r>
            <a:r>
              <a:rPr lang="ru-RU" b="1" spc="-40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spc="-15" dirty="0">
                <a:solidFill>
                  <a:srgbClr val="006FC0"/>
                </a:solidFill>
                <a:latin typeface="Arial"/>
                <a:cs typeface="Arial"/>
              </a:rPr>
              <a:t>при </a:t>
            </a:r>
            <a:r>
              <a:rPr lang="ru-RU" b="1" spc="-10" dirty="0">
                <a:solidFill>
                  <a:srgbClr val="006FC0"/>
                </a:solidFill>
                <a:latin typeface="Arial"/>
                <a:cs typeface="Arial"/>
              </a:rPr>
              <a:t>соблюдении </a:t>
            </a:r>
            <a:r>
              <a:rPr lang="ru-RU" b="1" spc="-5" dirty="0">
                <a:solidFill>
                  <a:srgbClr val="006FC0"/>
                </a:solidFill>
                <a:latin typeface="Arial"/>
                <a:cs typeface="Arial"/>
              </a:rPr>
              <a:t> определенных</a:t>
            </a:r>
            <a:r>
              <a:rPr lang="ru-RU" b="1" spc="-95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spc="-35" dirty="0">
                <a:solidFill>
                  <a:srgbClr val="006FC0"/>
                </a:solidFill>
                <a:latin typeface="Arial"/>
                <a:cs typeface="Arial"/>
              </a:rPr>
              <a:t>условий;</a:t>
            </a:r>
            <a:endParaRPr lang="ru-RU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lang="ru-RU" sz="2000" dirty="0">
              <a:latin typeface="Arial"/>
              <a:cs typeface="Arial"/>
            </a:endParaRPr>
          </a:p>
          <a:p>
            <a:pPr marL="12700" marR="476884">
              <a:lnSpc>
                <a:spcPct val="100000"/>
              </a:lnSpc>
            </a:pPr>
            <a:r>
              <a:rPr lang="ru-RU" dirty="0">
                <a:solidFill>
                  <a:srgbClr val="006FC0"/>
                </a:solidFill>
                <a:latin typeface="Microsoft Sans Serif"/>
                <a:cs typeface="Microsoft Sans Serif"/>
              </a:rPr>
              <a:t>-</a:t>
            </a:r>
            <a:r>
              <a:rPr lang="ru-RU" b="1" spc="-15" dirty="0">
                <a:solidFill>
                  <a:srgbClr val="006FC0"/>
                </a:solidFill>
                <a:latin typeface="Arial"/>
                <a:cs typeface="Arial"/>
              </a:rPr>
              <a:t>п</a:t>
            </a:r>
            <a:r>
              <a:rPr lang="ru-RU" b="1" spc="-30" dirty="0">
                <a:solidFill>
                  <a:srgbClr val="006FC0"/>
                </a:solidFill>
                <a:latin typeface="Arial"/>
                <a:cs typeface="Arial"/>
              </a:rPr>
              <a:t>о</a:t>
            </a:r>
            <a:r>
              <a:rPr lang="ru-RU" b="1" spc="-15" dirty="0">
                <a:solidFill>
                  <a:srgbClr val="006FC0"/>
                </a:solidFill>
                <a:latin typeface="Arial"/>
                <a:cs typeface="Arial"/>
              </a:rPr>
              <a:t>н</a:t>
            </a:r>
            <a:r>
              <a:rPr lang="ru-RU" b="1" spc="30" dirty="0">
                <a:solidFill>
                  <a:srgbClr val="006FC0"/>
                </a:solidFill>
                <a:latin typeface="Arial"/>
                <a:cs typeface="Arial"/>
              </a:rPr>
              <a:t>я</a:t>
            </a:r>
            <a:r>
              <a:rPr lang="ru-RU" b="1" spc="-60" dirty="0">
                <a:solidFill>
                  <a:srgbClr val="006FC0"/>
                </a:solidFill>
                <a:latin typeface="Arial"/>
                <a:cs typeface="Arial"/>
              </a:rPr>
              <a:t>т</a:t>
            </a:r>
            <a:r>
              <a:rPr lang="ru-RU" b="1" spc="-40" dirty="0">
                <a:solidFill>
                  <a:srgbClr val="006FC0"/>
                </a:solidFill>
                <a:latin typeface="Arial"/>
                <a:cs typeface="Arial"/>
              </a:rPr>
              <a:t>ий</a:t>
            </a:r>
            <a:r>
              <a:rPr lang="ru-RU" b="1" spc="-15" dirty="0">
                <a:solidFill>
                  <a:srgbClr val="006FC0"/>
                </a:solidFill>
                <a:latin typeface="Arial"/>
                <a:cs typeface="Arial"/>
              </a:rPr>
              <a:t>н</a:t>
            </a:r>
            <a:r>
              <a:rPr lang="ru-RU" b="1" spc="-30" dirty="0">
                <a:solidFill>
                  <a:srgbClr val="006FC0"/>
                </a:solidFill>
                <a:latin typeface="Arial"/>
                <a:cs typeface="Arial"/>
              </a:rPr>
              <a:t>о</a:t>
            </a:r>
            <a:r>
              <a:rPr lang="ru-RU" b="1" spc="20" dirty="0">
                <a:solidFill>
                  <a:srgbClr val="006FC0"/>
                </a:solidFill>
                <a:latin typeface="Arial"/>
                <a:cs typeface="Arial"/>
              </a:rPr>
              <a:t>е</a:t>
            </a:r>
            <a:r>
              <a:rPr lang="ru-RU" b="1" dirty="0">
                <a:solidFill>
                  <a:srgbClr val="006FC0"/>
                </a:solidFill>
                <a:latin typeface="Arial"/>
                <a:cs typeface="Arial"/>
              </a:rPr>
              <a:t>,</a:t>
            </a:r>
            <a:r>
              <a:rPr lang="ru-RU" b="1" spc="100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spc="-40" dirty="0">
                <a:solidFill>
                  <a:srgbClr val="006FC0"/>
                </a:solidFill>
                <a:latin typeface="Arial"/>
                <a:cs typeface="Arial"/>
              </a:rPr>
              <a:t>и</a:t>
            </a:r>
            <a:r>
              <a:rPr lang="ru-RU" b="1" spc="-5" dirty="0">
                <a:solidFill>
                  <a:srgbClr val="006FC0"/>
                </a:solidFill>
                <a:latin typeface="Arial"/>
                <a:cs typeface="Arial"/>
              </a:rPr>
              <a:t>л</a:t>
            </a:r>
            <a:r>
              <a:rPr lang="ru-RU" b="1" dirty="0">
                <a:solidFill>
                  <a:srgbClr val="006FC0"/>
                </a:solidFill>
                <a:latin typeface="Arial"/>
                <a:cs typeface="Arial"/>
              </a:rPr>
              <a:t>и</a:t>
            </a:r>
            <a:r>
              <a:rPr lang="ru-RU" b="1" spc="10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spc="-5" dirty="0">
                <a:solidFill>
                  <a:srgbClr val="006FC0"/>
                </a:solidFill>
                <a:latin typeface="Arial"/>
                <a:cs typeface="Arial"/>
              </a:rPr>
              <a:t>к</a:t>
            </a:r>
            <a:r>
              <a:rPr lang="ru-RU" b="1" spc="-30" dirty="0">
                <a:solidFill>
                  <a:srgbClr val="006FC0"/>
                </a:solidFill>
                <a:latin typeface="Arial"/>
                <a:cs typeface="Arial"/>
              </a:rPr>
              <a:t>о</a:t>
            </a:r>
            <a:r>
              <a:rPr lang="ru-RU" b="1" spc="-15" dirty="0">
                <a:solidFill>
                  <a:srgbClr val="006FC0"/>
                </a:solidFill>
                <a:latin typeface="Arial"/>
                <a:cs typeface="Arial"/>
              </a:rPr>
              <a:t>н</a:t>
            </a:r>
            <a:r>
              <a:rPr lang="ru-RU" b="1" spc="-40" dirty="0">
                <a:solidFill>
                  <a:srgbClr val="006FC0"/>
                </a:solidFill>
                <a:latin typeface="Arial"/>
                <a:cs typeface="Arial"/>
              </a:rPr>
              <a:t>ц</a:t>
            </a:r>
            <a:r>
              <a:rPr lang="ru-RU" b="1" spc="20" dirty="0">
                <a:solidFill>
                  <a:srgbClr val="006FC0"/>
                </a:solidFill>
                <a:latin typeface="Arial"/>
                <a:cs typeface="Arial"/>
              </a:rPr>
              <a:t>е</a:t>
            </a:r>
            <a:r>
              <a:rPr lang="ru-RU" b="1" spc="-15" dirty="0">
                <a:solidFill>
                  <a:srgbClr val="006FC0"/>
                </a:solidFill>
                <a:latin typeface="Arial"/>
                <a:cs typeface="Arial"/>
              </a:rPr>
              <a:t>п</a:t>
            </a:r>
            <a:r>
              <a:rPr lang="ru-RU" b="1" spc="15" dirty="0">
                <a:solidFill>
                  <a:srgbClr val="006FC0"/>
                </a:solidFill>
                <a:latin typeface="Arial"/>
                <a:cs typeface="Arial"/>
              </a:rPr>
              <a:t>т</a:t>
            </a:r>
            <a:r>
              <a:rPr lang="ru-RU" b="1" spc="-60" dirty="0">
                <a:solidFill>
                  <a:srgbClr val="006FC0"/>
                </a:solidFill>
                <a:latin typeface="Arial"/>
                <a:cs typeface="Arial"/>
              </a:rPr>
              <a:t>у</a:t>
            </a:r>
            <a:r>
              <a:rPr lang="ru-RU" b="1" spc="20" dirty="0">
                <a:solidFill>
                  <a:srgbClr val="006FC0"/>
                </a:solidFill>
                <a:latin typeface="Arial"/>
                <a:cs typeface="Arial"/>
              </a:rPr>
              <a:t>а</a:t>
            </a:r>
            <a:r>
              <a:rPr lang="ru-RU" b="1" spc="-5" dirty="0">
                <a:solidFill>
                  <a:srgbClr val="006FC0"/>
                </a:solidFill>
                <a:latin typeface="Arial"/>
                <a:cs typeface="Arial"/>
              </a:rPr>
              <a:t>л</a:t>
            </a:r>
            <a:r>
              <a:rPr lang="ru-RU" b="1" spc="-45" dirty="0">
                <a:solidFill>
                  <a:srgbClr val="006FC0"/>
                </a:solidFill>
                <a:latin typeface="Arial"/>
                <a:cs typeface="Arial"/>
              </a:rPr>
              <a:t>ь</a:t>
            </a:r>
            <a:r>
              <a:rPr lang="ru-RU" b="1" spc="-15" dirty="0">
                <a:solidFill>
                  <a:srgbClr val="006FC0"/>
                </a:solidFill>
                <a:latin typeface="Arial"/>
                <a:cs typeface="Arial"/>
              </a:rPr>
              <a:t>н</a:t>
            </a:r>
            <a:r>
              <a:rPr lang="ru-RU" b="1" spc="-30" dirty="0">
                <a:solidFill>
                  <a:srgbClr val="006FC0"/>
                </a:solidFill>
                <a:latin typeface="Arial"/>
                <a:cs typeface="Arial"/>
              </a:rPr>
              <a:t>о</a:t>
            </a:r>
            <a:r>
              <a:rPr lang="ru-RU" b="1" dirty="0">
                <a:solidFill>
                  <a:srgbClr val="006FC0"/>
                </a:solidFill>
                <a:latin typeface="Arial"/>
                <a:cs typeface="Arial"/>
              </a:rPr>
              <a:t>е</a:t>
            </a:r>
            <a:r>
              <a:rPr lang="ru-RU" b="1" spc="150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spc="-5" dirty="0">
                <a:solidFill>
                  <a:srgbClr val="006FC0"/>
                </a:solidFill>
                <a:latin typeface="Arial"/>
                <a:cs typeface="Arial"/>
              </a:rPr>
              <a:t>зн</a:t>
            </a:r>
            <a:r>
              <a:rPr lang="ru-RU" b="1" spc="15" dirty="0">
                <a:solidFill>
                  <a:srgbClr val="006FC0"/>
                </a:solidFill>
                <a:latin typeface="Arial"/>
                <a:cs typeface="Arial"/>
              </a:rPr>
              <a:t>а</a:t>
            </a:r>
            <a:r>
              <a:rPr lang="ru-RU" b="1" spc="-15" dirty="0">
                <a:solidFill>
                  <a:srgbClr val="006FC0"/>
                </a:solidFill>
                <a:latin typeface="Arial"/>
                <a:cs typeface="Arial"/>
              </a:rPr>
              <a:t>н</a:t>
            </a:r>
            <a:r>
              <a:rPr lang="ru-RU" b="1" spc="-40" dirty="0">
                <a:solidFill>
                  <a:srgbClr val="006FC0"/>
                </a:solidFill>
                <a:latin typeface="Arial"/>
                <a:cs typeface="Arial"/>
              </a:rPr>
              <a:t>и</a:t>
            </a:r>
            <a:r>
              <a:rPr lang="ru-RU" b="1" spc="20" dirty="0">
                <a:solidFill>
                  <a:srgbClr val="006FC0"/>
                </a:solidFill>
                <a:latin typeface="Arial"/>
                <a:cs typeface="Arial"/>
              </a:rPr>
              <a:t>е</a:t>
            </a:r>
            <a:r>
              <a:rPr lang="ru-RU" b="1" dirty="0">
                <a:solidFill>
                  <a:srgbClr val="006FC0"/>
                </a:solidFill>
                <a:latin typeface="Arial"/>
                <a:cs typeface="Arial"/>
              </a:rPr>
              <a:t>,</a:t>
            </a:r>
            <a:r>
              <a:rPr lang="ru-RU" b="1" spc="20" dirty="0">
                <a:solidFill>
                  <a:srgbClr val="006FC0"/>
                </a:solidFill>
                <a:latin typeface="Arial"/>
                <a:cs typeface="Arial"/>
              </a:rPr>
              <a:t> с</a:t>
            </a:r>
            <a:r>
              <a:rPr lang="ru-RU" b="1" spc="-5" dirty="0">
                <a:solidFill>
                  <a:srgbClr val="006FC0"/>
                </a:solidFill>
                <a:latin typeface="Arial"/>
                <a:cs typeface="Arial"/>
              </a:rPr>
              <a:t>кл</a:t>
            </a:r>
            <a:r>
              <a:rPr lang="ru-RU" b="1" spc="15" dirty="0">
                <a:solidFill>
                  <a:srgbClr val="006FC0"/>
                </a:solidFill>
                <a:latin typeface="Arial"/>
                <a:cs typeface="Arial"/>
              </a:rPr>
              <a:t>а</a:t>
            </a:r>
            <a:r>
              <a:rPr lang="ru-RU" b="1" dirty="0">
                <a:solidFill>
                  <a:srgbClr val="006FC0"/>
                </a:solidFill>
                <a:latin typeface="Arial"/>
                <a:cs typeface="Arial"/>
              </a:rPr>
              <a:t>д</a:t>
            </a:r>
            <a:r>
              <a:rPr lang="ru-RU" b="1" spc="25" dirty="0">
                <a:solidFill>
                  <a:srgbClr val="006FC0"/>
                </a:solidFill>
                <a:latin typeface="Arial"/>
                <a:cs typeface="Arial"/>
              </a:rPr>
              <a:t>ы</a:t>
            </a:r>
            <a:r>
              <a:rPr lang="ru-RU" b="1" spc="-40" dirty="0">
                <a:solidFill>
                  <a:srgbClr val="006FC0"/>
                </a:solidFill>
                <a:latin typeface="Arial"/>
                <a:cs typeface="Arial"/>
              </a:rPr>
              <a:t>в</a:t>
            </a:r>
            <a:r>
              <a:rPr lang="ru-RU" b="1" spc="20" dirty="0">
                <a:solidFill>
                  <a:srgbClr val="006FC0"/>
                </a:solidFill>
                <a:latin typeface="Arial"/>
                <a:cs typeface="Arial"/>
              </a:rPr>
              <a:t>а</a:t>
            </a:r>
            <a:r>
              <a:rPr lang="ru-RU" b="1" spc="25" dirty="0">
                <a:solidFill>
                  <a:srgbClr val="006FC0"/>
                </a:solidFill>
                <a:latin typeface="Arial"/>
                <a:cs typeface="Arial"/>
              </a:rPr>
              <a:t>ю</a:t>
            </a:r>
            <a:r>
              <a:rPr lang="ru-RU" b="1" spc="-25" dirty="0">
                <a:solidFill>
                  <a:srgbClr val="006FC0"/>
                </a:solidFill>
                <a:latin typeface="Arial"/>
                <a:cs typeface="Arial"/>
              </a:rPr>
              <a:t>щ</a:t>
            </a:r>
            <a:r>
              <a:rPr lang="ru-RU" b="1" spc="20" dirty="0">
                <a:solidFill>
                  <a:srgbClr val="006FC0"/>
                </a:solidFill>
                <a:latin typeface="Arial"/>
                <a:cs typeface="Arial"/>
              </a:rPr>
              <a:t>еес</a:t>
            </a:r>
            <a:r>
              <a:rPr lang="ru-RU" b="1" dirty="0">
                <a:solidFill>
                  <a:srgbClr val="006FC0"/>
                </a:solidFill>
                <a:latin typeface="Arial"/>
                <a:cs typeface="Arial"/>
              </a:rPr>
              <a:t>я</a:t>
            </a:r>
            <a:r>
              <a:rPr lang="ru-RU" b="1" spc="-235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spc="-40" dirty="0">
                <a:solidFill>
                  <a:srgbClr val="006FC0"/>
                </a:solidFill>
                <a:latin typeface="Arial"/>
                <a:cs typeface="Arial"/>
              </a:rPr>
              <a:t>и</a:t>
            </a:r>
            <a:r>
              <a:rPr lang="ru-RU" b="1" dirty="0">
                <a:solidFill>
                  <a:srgbClr val="006FC0"/>
                </a:solidFill>
                <a:latin typeface="Arial"/>
                <a:cs typeface="Arial"/>
              </a:rPr>
              <a:t>з</a:t>
            </a:r>
            <a:r>
              <a:rPr lang="ru-RU" b="1" spc="55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spc="-15" dirty="0">
                <a:solidFill>
                  <a:srgbClr val="006FC0"/>
                </a:solidFill>
                <a:latin typeface="Arial"/>
                <a:cs typeface="Arial"/>
              </a:rPr>
              <a:t>п</a:t>
            </a:r>
            <a:r>
              <a:rPr lang="ru-RU" b="1" spc="-30" dirty="0">
                <a:solidFill>
                  <a:srgbClr val="006FC0"/>
                </a:solidFill>
                <a:latin typeface="Arial"/>
                <a:cs typeface="Arial"/>
              </a:rPr>
              <a:t>о</a:t>
            </a:r>
            <a:r>
              <a:rPr lang="ru-RU" b="1" spc="-15" dirty="0">
                <a:solidFill>
                  <a:srgbClr val="006FC0"/>
                </a:solidFill>
                <a:latin typeface="Arial"/>
                <a:cs typeface="Arial"/>
              </a:rPr>
              <a:t>н</a:t>
            </a:r>
            <a:r>
              <a:rPr lang="ru-RU" b="1" spc="-40" dirty="0">
                <a:solidFill>
                  <a:srgbClr val="006FC0"/>
                </a:solidFill>
                <a:latin typeface="Arial"/>
                <a:cs typeface="Arial"/>
              </a:rPr>
              <a:t>и</a:t>
            </a:r>
            <a:r>
              <a:rPr lang="ru-RU" b="1" spc="-100" dirty="0">
                <a:solidFill>
                  <a:srgbClr val="006FC0"/>
                </a:solidFill>
                <a:latin typeface="Arial"/>
                <a:cs typeface="Arial"/>
              </a:rPr>
              <a:t>м</a:t>
            </a:r>
            <a:r>
              <a:rPr lang="ru-RU" b="1" spc="20" dirty="0">
                <a:solidFill>
                  <a:srgbClr val="006FC0"/>
                </a:solidFill>
                <a:latin typeface="Arial"/>
                <a:cs typeface="Arial"/>
              </a:rPr>
              <a:t>а</a:t>
            </a:r>
            <a:r>
              <a:rPr lang="ru-RU" b="1" spc="-15" dirty="0">
                <a:solidFill>
                  <a:srgbClr val="006FC0"/>
                </a:solidFill>
                <a:latin typeface="Arial"/>
                <a:cs typeface="Arial"/>
              </a:rPr>
              <a:t>н</a:t>
            </a:r>
            <a:r>
              <a:rPr lang="ru-RU" b="1" spc="-40" dirty="0">
                <a:solidFill>
                  <a:srgbClr val="006FC0"/>
                </a:solidFill>
                <a:latin typeface="Arial"/>
                <a:cs typeface="Arial"/>
              </a:rPr>
              <a:t>и</a:t>
            </a:r>
            <a:r>
              <a:rPr lang="ru-RU" b="1" dirty="0">
                <a:solidFill>
                  <a:srgbClr val="006FC0"/>
                </a:solidFill>
                <a:latin typeface="Arial"/>
                <a:cs typeface="Arial"/>
              </a:rPr>
              <a:t>я  </a:t>
            </a:r>
            <a:r>
              <a:rPr lang="ru-RU" b="1" spc="-25" dirty="0">
                <a:solidFill>
                  <a:srgbClr val="006FC0"/>
                </a:solidFill>
                <a:latin typeface="Arial"/>
                <a:cs typeface="Arial"/>
              </a:rPr>
              <a:t>сути</a:t>
            </a:r>
            <a:r>
              <a:rPr lang="ru-RU" b="1" spc="90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spc="-20" dirty="0">
                <a:solidFill>
                  <a:srgbClr val="006FC0"/>
                </a:solidFill>
                <a:latin typeface="Arial"/>
                <a:cs typeface="Arial"/>
              </a:rPr>
              <a:t>совокупности</a:t>
            </a:r>
            <a:r>
              <a:rPr lang="ru-RU" b="1" spc="170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spc="-35" dirty="0">
                <a:solidFill>
                  <a:srgbClr val="006FC0"/>
                </a:solidFill>
                <a:latin typeface="Arial"/>
                <a:cs typeface="Arial"/>
              </a:rPr>
              <a:t>терминов,</a:t>
            </a:r>
            <a:r>
              <a:rPr lang="ru-RU" b="1" spc="175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spc="-20" dirty="0">
                <a:solidFill>
                  <a:srgbClr val="006FC0"/>
                </a:solidFill>
                <a:latin typeface="Arial"/>
                <a:cs typeface="Arial"/>
              </a:rPr>
              <a:t>применяемых</a:t>
            </a:r>
            <a:r>
              <a:rPr lang="ru-RU" b="1" spc="70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dirty="0">
                <a:solidFill>
                  <a:srgbClr val="006FC0"/>
                </a:solidFill>
                <a:latin typeface="Arial"/>
                <a:cs typeface="Arial"/>
              </a:rPr>
              <a:t>в</a:t>
            </a:r>
            <a:r>
              <a:rPr lang="ru-RU" b="1" spc="10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spc="-30" dirty="0">
                <a:solidFill>
                  <a:srgbClr val="006FC0"/>
                </a:solidFill>
                <a:latin typeface="Arial"/>
                <a:cs typeface="Arial"/>
              </a:rPr>
              <a:t>той</a:t>
            </a:r>
            <a:r>
              <a:rPr lang="ru-RU" b="1" spc="10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spc="-15" dirty="0">
                <a:solidFill>
                  <a:srgbClr val="006FC0"/>
                </a:solidFill>
                <a:latin typeface="Arial"/>
                <a:cs typeface="Arial"/>
              </a:rPr>
              <a:t>или</a:t>
            </a:r>
            <a:r>
              <a:rPr lang="ru-RU" b="1" spc="85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spc="-20" dirty="0">
                <a:solidFill>
                  <a:srgbClr val="006FC0"/>
                </a:solidFill>
                <a:latin typeface="Arial"/>
                <a:cs typeface="Arial"/>
              </a:rPr>
              <a:t>иной</a:t>
            </a:r>
            <a:r>
              <a:rPr lang="ru-RU" b="1" spc="10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spc="-20" dirty="0">
                <a:solidFill>
                  <a:srgbClr val="006FC0"/>
                </a:solidFill>
                <a:latin typeface="Arial"/>
                <a:cs typeface="Arial"/>
              </a:rPr>
              <a:t>предметной </a:t>
            </a:r>
            <a:r>
              <a:rPr lang="ru-RU" b="1" spc="-15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lang="ru-RU" b="1" spc="-20" dirty="0">
                <a:solidFill>
                  <a:srgbClr val="006FC0"/>
                </a:solidFill>
                <a:latin typeface="Arial"/>
                <a:cs typeface="Arial"/>
              </a:rPr>
              <a:t>области;</a:t>
            </a:r>
            <a:endParaRPr lang="ru-RU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lang="ru-RU" sz="20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lang="ru-RU" spc="-20" dirty="0">
                <a:solidFill>
                  <a:srgbClr val="C00000"/>
                </a:solidFill>
                <a:latin typeface="Microsoft Sans Serif"/>
                <a:cs typeface="Microsoft Sans Serif"/>
              </a:rPr>
              <a:t>-</a:t>
            </a:r>
            <a:r>
              <a:rPr lang="ru-RU" b="1" spc="-20" dirty="0">
                <a:solidFill>
                  <a:srgbClr val="C00000"/>
                </a:solidFill>
                <a:latin typeface="Arial"/>
                <a:cs typeface="Arial"/>
              </a:rPr>
              <a:t>методологическое</a:t>
            </a:r>
            <a:r>
              <a:rPr lang="ru-RU" b="1" spc="-10" dirty="0">
                <a:solidFill>
                  <a:srgbClr val="C00000"/>
                </a:solidFill>
                <a:latin typeface="Arial"/>
                <a:cs typeface="Arial"/>
              </a:rPr>
              <a:t> знание</a:t>
            </a:r>
            <a:r>
              <a:rPr lang="ru-RU" b="1" spc="120" dirty="0">
                <a:solidFill>
                  <a:srgbClr val="C00000"/>
                </a:solidFill>
                <a:latin typeface="Arial"/>
                <a:cs typeface="Arial"/>
              </a:rPr>
              <a:t> </a:t>
            </a:r>
            <a:r>
              <a:rPr lang="ru-RU" b="1" dirty="0">
                <a:solidFill>
                  <a:srgbClr val="C00000"/>
                </a:solidFill>
                <a:latin typeface="Arial"/>
                <a:cs typeface="Arial"/>
              </a:rPr>
              <a:t>–</a:t>
            </a:r>
            <a:r>
              <a:rPr lang="ru-RU" b="1" spc="-5" dirty="0">
                <a:solidFill>
                  <a:srgbClr val="C00000"/>
                </a:solidFill>
                <a:latin typeface="Arial"/>
                <a:cs typeface="Arial"/>
              </a:rPr>
              <a:t> </a:t>
            </a:r>
            <a:r>
              <a:rPr lang="ru-RU" b="1" spc="-10" dirty="0" err="1">
                <a:solidFill>
                  <a:srgbClr val="C00000"/>
                </a:solidFill>
                <a:latin typeface="Arial"/>
                <a:cs typeface="Arial"/>
              </a:rPr>
              <a:t>знание</a:t>
            </a:r>
            <a:r>
              <a:rPr lang="ru-RU" b="1" spc="-5" dirty="0">
                <a:solidFill>
                  <a:srgbClr val="C00000"/>
                </a:solidFill>
                <a:latin typeface="Arial"/>
                <a:cs typeface="Arial"/>
              </a:rPr>
              <a:t> </a:t>
            </a:r>
            <a:r>
              <a:rPr lang="ru-RU" b="1" spc="-15" dirty="0">
                <a:solidFill>
                  <a:srgbClr val="C00000"/>
                </a:solidFill>
                <a:latin typeface="Arial"/>
                <a:cs typeface="Arial"/>
              </a:rPr>
              <a:t>общих</a:t>
            </a:r>
            <a:r>
              <a:rPr lang="ru-RU" b="1" spc="70" dirty="0">
                <a:solidFill>
                  <a:srgbClr val="C00000"/>
                </a:solidFill>
                <a:latin typeface="Arial"/>
                <a:cs typeface="Arial"/>
              </a:rPr>
              <a:t> </a:t>
            </a:r>
            <a:r>
              <a:rPr lang="ru-RU" b="1" spc="-15" dirty="0">
                <a:solidFill>
                  <a:srgbClr val="C00000"/>
                </a:solidFill>
                <a:latin typeface="Arial"/>
                <a:cs typeface="Arial"/>
              </a:rPr>
              <a:t>закономерностей</a:t>
            </a:r>
            <a:r>
              <a:rPr lang="ru-RU" b="1" spc="15" dirty="0">
                <a:solidFill>
                  <a:srgbClr val="C00000"/>
                </a:solidFill>
                <a:latin typeface="Arial"/>
                <a:cs typeface="Arial"/>
              </a:rPr>
              <a:t> </a:t>
            </a:r>
            <a:r>
              <a:rPr lang="ru-RU" b="1" spc="-30" dirty="0">
                <a:solidFill>
                  <a:srgbClr val="C00000"/>
                </a:solidFill>
                <a:latin typeface="Arial"/>
                <a:cs typeface="Arial"/>
              </a:rPr>
              <a:t>изучаемых</a:t>
            </a:r>
            <a:endParaRPr lang="ru-RU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lang="ru-RU" b="1" spc="-5" dirty="0">
                <a:solidFill>
                  <a:srgbClr val="C00000"/>
                </a:solidFill>
                <a:latin typeface="Arial"/>
                <a:cs typeface="Arial"/>
              </a:rPr>
              <a:t>явлений</a:t>
            </a:r>
            <a:r>
              <a:rPr lang="ru-RU" b="1" spc="-85" dirty="0">
                <a:solidFill>
                  <a:srgbClr val="C00000"/>
                </a:solidFill>
                <a:latin typeface="Arial"/>
                <a:cs typeface="Arial"/>
              </a:rPr>
              <a:t> </a:t>
            </a:r>
            <a:r>
              <a:rPr lang="ru-RU" b="1" dirty="0">
                <a:solidFill>
                  <a:srgbClr val="C00000"/>
                </a:solidFill>
                <a:latin typeface="Arial"/>
                <a:cs typeface="Arial"/>
              </a:rPr>
              <a:t>и</a:t>
            </a:r>
            <a:r>
              <a:rPr lang="ru-RU" b="1" spc="-10" dirty="0">
                <a:solidFill>
                  <a:srgbClr val="C00000"/>
                </a:solidFill>
                <a:latin typeface="Arial"/>
                <a:cs typeface="Arial"/>
              </a:rPr>
              <a:t> </a:t>
            </a:r>
            <a:r>
              <a:rPr lang="ru-RU" b="1" spc="-15" dirty="0">
                <a:solidFill>
                  <a:srgbClr val="C00000"/>
                </a:solidFill>
                <a:latin typeface="Arial"/>
                <a:cs typeface="Arial"/>
              </a:rPr>
              <a:t>процессов.</a:t>
            </a:r>
            <a:endParaRPr lang="ru-RU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695774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57399" y="728133"/>
            <a:ext cx="7357533" cy="689704"/>
          </a:xfrm>
          <a:solidFill>
            <a:schemeClr val="bg1">
              <a:lumMod val="95000"/>
            </a:schemeClr>
          </a:solidFill>
        </p:spPr>
        <p:txBody>
          <a:bodyPr>
            <a:normAutofit fontScale="90000"/>
          </a:bodyPr>
          <a:lstStyle/>
          <a:p>
            <a:r>
              <a:rPr lang="ru-RU" dirty="0"/>
              <a:t>   </a:t>
            </a:r>
            <a:r>
              <a:rPr lang="ru-RU" sz="2700" b="1" dirty="0">
                <a:solidFill>
                  <a:srgbClr val="0073B8"/>
                </a:solidFill>
                <a:latin typeface="+mn-lt"/>
              </a:rPr>
              <a:t>Примерная программа. Содержательные линии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ru-RU" dirty="0"/>
              <a:t>Линия «Технология», нацеленная на формирование всего спектра знаний о сути технологии как последовательности взаимосвязанных этапов, операций и действий работы с данным материалом, направленной на достижение поставленной цели или получении заданного результата. Данная линия является </a:t>
            </a:r>
            <a:r>
              <a:rPr lang="ru-RU" dirty="0" err="1"/>
              <a:t>системообразующей</a:t>
            </a:r>
            <a:r>
              <a:rPr lang="ru-RU" dirty="0"/>
              <a:t> для всего курса технологии: от изучения материалов и инструментов их обработки в 5-ом классе до целостной реализации технологической цепочки в 8-м и 9-ом классах.    </a:t>
            </a:r>
          </a:p>
          <a:p>
            <a:endParaRPr lang="ru-RU" dirty="0"/>
          </a:p>
          <a:p>
            <a:r>
              <a:rPr lang="ru-RU" dirty="0"/>
              <a:t>Линия «Моделирование» направлена на конструирование и использование  в познавательной и практической деятельности  модели, как объекта-заменителя, отражающего наиболее существенные стороны изучаемого объекта, с точки зрения решаемой задачи, что открывает широкие возможности для творчества, вплоть до создания новых технологий. </a:t>
            </a:r>
          </a:p>
          <a:p>
            <a:endParaRPr lang="ru-RU" dirty="0"/>
          </a:p>
          <a:p>
            <a:r>
              <a:rPr lang="ru-RU" dirty="0"/>
              <a:t>Линия «Проектирование», в рамках которой происходит  освоение проектной деятельности в полном цикле: от постановки задачи до получения конкретных, значимых результатов, при этом активно используются методы и инструменты современной профессиональной деятельности: программные сервисы, когнитивные методы и инструменты.  Изготовление любого изделия на уроках технологии имеет своей целью, прежде всего, получение практики проектной деятельности. </a:t>
            </a:r>
          </a:p>
          <a:p>
            <a:endParaRPr lang="ru-RU" dirty="0"/>
          </a:p>
          <a:p>
            <a:r>
              <a:rPr lang="ru-RU" dirty="0"/>
              <a:t>Линия «Профессиональная ориентация», в отличие от остальных содержательных линий носит, преимущественно, информационный характер. </a:t>
            </a:r>
          </a:p>
          <a:p>
            <a:endParaRPr lang="ru-RU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279</TotalTime>
  <Words>2231</Words>
  <Application>Microsoft Office PowerPoint</Application>
  <PresentationFormat>Широкоэкранный</PresentationFormat>
  <Paragraphs>191</Paragraphs>
  <Slides>24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34" baseType="lpstr">
      <vt:lpstr>Arial</vt:lpstr>
      <vt:lpstr>Arial Black</vt:lpstr>
      <vt:lpstr>Calibri</vt:lpstr>
      <vt:lpstr>Calibri Light</vt:lpstr>
      <vt:lpstr>Franklin Gothic Book</vt:lpstr>
      <vt:lpstr>Microsoft Sans Serif</vt:lpstr>
      <vt:lpstr>Open Sans Light</vt:lpstr>
      <vt:lpstr>Тема Office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НОВЫЙ ФГОС ООО ПО ТЕХНОЛОГИИ (УТВЕРЖДЁН 31.05.2021 N 287)</vt:lpstr>
      <vt:lpstr>Предметные результаты по учебному предмету должны обеспечить:</vt:lpstr>
      <vt:lpstr>Презентация PowerPoint</vt:lpstr>
      <vt:lpstr>   Примерная программа. Содержательные лин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                                       Модульный курс С.А.Бешенков, М.И. Шутикова, Э.В. Миндзаева, В.И.Филиппов и др.</vt:lpstr>
      <vt:lpstr>Презентация PowerPoint</vt:lpstr>
      <vt:lpstr>Презентация PowerPoint</vt:lpstr>
      <vt:lpstr>Презентация PowerPoint</vt:lpstr>
      <vt:lpstr>SketchUp</vt:lpstr>
      <vt:lpstr>ПРОЕКТНОЕ ОБУЧЕНИЕ  и  3D - моделирование 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аркетинг</dc:creator>
  <cp:lastModifiedBy>Сергей</cp:lastModifiedBy>
  <cp:revision>680</cp:revision>
  <dcterms:created xsi:type="dcterms:W3CDTF">2020-02-25T09:30:21Z</dcterms:created>
  <dcterms:modified xsi:type="dcterms:W3CDTF">2023-08-28T11:47:04Z</dcterms:modified>
</cp:coreProperties>
</file>